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87" r:id="rId2"/>
    <p:sldId id="315" r:id="rId3"/>
    <p:sldId id="343" r:id="rId4"/>
    <p:sldId id="317" r:id="rId5"/>
    <p:sldId id="329" r:id="rId6"/>
    <p:sldId id="331" r:id="rId7"/>
    <p:sldId id="307" r:id="rId8"/>
    <p:sldId id="333" r:id="rId9"/>
    <p:sldId id="336" r:id="rId10"/>
    <p:sldId id="308" r:id="rId11"/>
    <p:sldId id="339" r:id="rId12"/>
    <p:sldId id="340" r:id="rId13"/>
    <p:sldId id="337" r:id="rId14"/>
    <p:sldId id="338" r:id="rId15"/>
    <p:sldId id="334" r:id="rId16"/>
    <p:sldId id="335" r:id="rId17"/>
  </p:sldIdLst>
  <p:sldSz cx="9144000" cy="6858000" type="screen4x3"/>
  <p:notesSz cx="7019925" cy="93059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C3F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0" d="100"/>
          <a:sy n="70" d="100"/>
        </p:scale>
        <p:origin x="1386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3162CA3-85DF-A345-8047-5415930990D6}" type="doc">
      <dgm:prSet loTypeId="urn:microsoft.com/office/officeart/2005/8/layout/orgChart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4CA70A4-8284-2544-8C9D-A67CF4E6F0D0}">
      <dgm:prSet phldrT="[Text]" custT="1"/>
      <dgm:spPr/>
      <dgm:t>
        <a:bodyPr/>
        <a:lstStyle/>
        <a:p>
          <a:pPr>
            <a:lnSpc>
              <a:spcPct val="90000"/>
            </a:lnSpc>
          </a:pPr>
          <a:r>
            <a:rPr lang="en-US" sz="1400" b="1" dirty="0" smtClean="0"/>
            <a:t>Community Umpiring Manager NSW/ACT</a:t>
          </a:r>
        </a:p>
        <a:p>
          <a:pPr>
            <a:lnSpc>
              <a:spcPct val="90000"/>
            </a:lnSpc>
          </a:pPr>
          <a:r>
            <a:rPr lang="en-US" sz="1400" b="0" dirty="0" smtClean="0">
              <a:solidFill>
                <a:srgbClr val="000000"/>
              </a:solidFill>
            </a:rPr>
            <a:t>Graham </a:t>
          </a:r>
          <a:r>
            <a:rPr lang="en-US" sz="1400" b="0" dirty="0" err="1" smtClean="0">
              <a:solidFill>
                <a:srgbClr val="000000"/>
              </a:solidFill>
            </a:rPr>
            <a:t>Glassford</a:t>
          </a:r>
          <a:endParaRPr lang="en-US" sz="1400" b="0" dirty="0" smtClean="0">
            <a:solidFill>
              <a:srgbClr val="000000"/>
            </a:solidFill>
          </a:endParaRPr>
        </a:p>
        <a:p>
          <a:pPr>
            <a:lnSpc>
              <a:spcPct val="60000"/>
            </a:lnSpc>
          </a:pPr>
          <a:r>
            <a:rPr lang="en-US" sz="1400" dirty="0" smtClean="0"/>
            <a:t>- AFL Sydney</a:t>
          </a:r>
        </a:p>
        <a:p>
          <a:pPr>
            <a:lnSpc>
              <a:spcPct val="60000"/>
            </a:lnSpc>
          </a:pPr>
          <a:r>
            <a:rPr lang="en-US" sz="1400" dirty="0" smtClean="0"/>
            <a:t>- AFL North Coast</a:t>
          </a:r>
        </a:p>
      </dgm:t>
    </dgm:pt>
    <dgm:pt modelId="{BA4FFB08-4D79-CA4B-B4A1-1B84FCDEA600}" type="parTrans" cxnId="{236372FA-DF13-B84E-A624-E15071A4FFEE}">
      <dgm:prSet/>
      <dgm:spPr/>
      <dgm:t>
        <a:bodyPr/>
        <a:lstStyle/>
        <a:p>
          <a:endParaRPr lang="en-US" sz="2400"/>
        </a:p>
      </dgm:t>
    </dgm:pt>
    <dgm:pt modelId="{25968255-636A-5942-ACA8-A927D4AC7705}" type="sibTrans" cxnId="{236372FA-DF13-B84E-A624-E15071A4FFEE}">
      <dgm:prSet/>
      <dgm:spPr/>
      <dgm:t>
        <a:bodyPr/>
        <a:lstStyle/>
        <a:p>
          <a:endParaRPr lang="en-US" sz="2400"/>
        </a:p>
      </dgm:t>
    </dgm:pt>
    <dgm:pt modelId="{23516135-92F1-A744-AF40-536A9ADFF823}">
      <dgm:prSet phldrT="[Text]" custT="1"/>
      <dgm:spPr/>
      <dgm:t>
        <a:bodyPr/>
        <a:lstStyle/>
        <a:p>
          <a:pPr>
            <a:lnSpc>
              <a:spcPct val="90000"/>
            </a:lnSpc>
          </a:pPr>
          <a:r>
            <a:rPr lang="en-US" sz="1400" b="1" dirty="0" smtClean="0"/>
            <a:t>Umpiring Development Coordinator (ACT/South Coast)</a:t>
          </a:r>
        </a:p>
        <a:p>
          <a:pPr>
            <a:lnSpc>
              <a:spcPct val="90000"/>
            </a:lnSpc>
          </a:pPr>
          <a:r>
            <a:rPr lang="en-US" sz="1400" b="0" dirty="0" smtClean="0">
              <a:solidFill>
                <a:srgbClr val="000000"/>
              </a:solidFill>
            </a:rPr>
            <a:t>Cameron Black </a:t>
          </a:r>
        </a:p>
        <a:p>
          <a:pPr>
            <a:lnSpc>
              <a:spcPct val="60000"/>
            </a:lnSpc>
          </a:pPr>
          <a:r>
            <a:rPr lang="en-US" sz="1400" dirty="0" smtClean="0"/>
            <a:t>- AFL Canberra</a:t>
          </a:r>
        </a:p>
        <a:p>
          <a:pPr>
            <a:lnSpc>
              <a:spcPct val="60000"/>
            </a:lnSpc>
          </a:pPr>
          <a:r>
            <a:rPr lang="en-US" sz="1400" dirty="0" smtClean="0"/>
            <a:t>- AFL South Coast</a:t>
          </a:r>
        </a:p>
        <a:p>
          <a:pPr>
            <a:lnSpc>
              <a:spcPct val="60000"/>
            </a:lnSpc>
          </a:pPr>
          <a:r>
            <a:rPr lang="en-US" sz="1400" dirty="0" smtClean="0"/>
            <a:t>- Sapphire Coast AFL</a:t>
          </a:r>
          <a:endParaRPr lang="en-US" sz="1400" dirty="0"/>
        </a:p>
      </dgm:t>
    </dgm:pt>
    <dgm:pt modelId="{69589C12-FF53-2E4A-9FB8-756575604ABA}" type="parTrans" cxnId="{281FCB7B-599A-284C-AD62-A132C13C9876}">
      <dgm:prSet/>
      <dgm:spPr/>
      <dgm:t>
        <a:bodyPr/>
        <a:lstStyle/>
        <a:p>
          <a:endParaRPr lang="en-US" sz="2400"/>
        </a:p>
      </dgm:t>
    </dgm:pt>
    <dgm:pt modelId="{09BF2937-BDC3-9B49-A859-1CFB3BD1B9FC}" type="sibTrans" cxnId="{281FCB7B-599A-284C-AD62-A132C13C9876}">
      <dgm:prSet/>
      <dgm:spPr/>
      <dgm:t>
        <a:bodyPr/>
        <a:lstStyle/>
        <a:p>
          <a:endParaRPr lang="en-US" sz="2400"/>
        </a:p>
      </dgm:t>
    </dgm:pt>
    <dgm:pt modelId="{E0C2407C-FC53-484B-9696-CFD98C6A6550}">
      <dgm:prSet phldrT="[Text]" custT="1"/>
      <dgm:spPr/>
      <dgm:t>
        <a:bodyPr/>
        <a:lstStyle/>
        <a:p>
          <a:pPr>
            <a:lnSpc>
              <a:spcPct val="90000"/>
            </a:lnSpc>
          </a:pPr>
          <a:endParaRPr lang="en-US" sz="1400" b="1" dirty="0" smtClean="0"/>
        </a:p>
        <a:p>
          <a:pPr>
            <a:lnSpc>
              <a:spcPct val="90000"/>
            </a:lnSpc>
          </a:pPr>
          <a:r>
            <a:rPr lang="en-US" sz="1400" b="1" dirty="0" smtClean="0"/>
            <a:t>Umpiring Development Coordinator (SNSW)</a:t>
          </a:r>
        </a:p>
        <a:p>
          <a:pPr>
            <a:lnSpc>
              <a:spcPct val="90000"/>
            </a:lnSpc>
          </a:pPr>
          <a:r>
            <a:rPr lang="en-US" sz="1400" b="0" dirty="0" smtClean="0">
              <a:solidFill>
                <a:srgbClr val="000000"/>
              </a:solidFill>
            </a:rPr>
            <a:t>Troy </a:t>
          </a:r>
          <a:r>
            <a:rPr lang="en-US" sz="1400" b="0" dirty="0" err="1" smtClean="0">
              <a:solidFill>
                <a:srgbClr val="000000"/>
              </a:solidFill>
            </a:rPr>
            <a:t>Mavroudis</a:t>
          </a:r>
          <a:endParaRPr lang="en-US" sz="1400" b="0" dirty="0" smtClean="0">
            <a:solidFill>
              <a:srgbClr val="000000"/>
            </a:solidFill>
          </a:endParaRPr>
        </a:p>
        <a:p>
          <a:pPr>
            <a:lnSpc>
              <a:spcPct val="60000"/>
            </a:lnSpc>
          </a:pPr>
          <a:r>
            <a:rPr lang="en-US" sz="1400" dirty="0" smtClean="0"/>
            <a:t>- AFL </a:t>
          </a:r>
          <a:r>
            <a:rPr lang="en-US" sz="1400" dirty="0" err="1" smtClean="0"/>
            <a:t>Riverina</a:t>
          </a:r>
          <a:r>
            <a:rPr lang="en-US" sz="1400" dirty="0" smtClean="0"/>
            <a:t> (</a:t>
          </a:r>
          <a:r>
            <a:rPr lang="en-US" sz="1400" dirty="0" err="1" smtClean="0"/>
            <a:t>Farrer</a:t>
          </a:r>
          <a:r>
            <a:rPr lang="en-US" sz="1400" dirty="0" smtClean="0"/>
            <a:t> &amp; </a:t>
          </a:r>
          <a:r>
            <a:rPr lang="en-US" sz="1400" dirty="0" err="1" smtClean="0"/>
            <a:t>Riverina</a:t>
          </a:r>
          <a:r>
            <a:rPr lang="en-US" sz="1400" dirty="0" smtClean="0"/>
            <a:t> FL)</a:t>
          </a:r>
        </a:p>
        <a:p>
          <a:pPr>
            <a:lnSpc>
              <a:spcPct val="60000"/>
            </a:lnSpc>
          </a:pPr>
          <a:r>
            <a:rPr lang="en-US" sz="1400" dirty="0" smtClean="0"/>
            <a:t>- Hume FL &amp; Northern </a:t>
          </a:r>
          <a:r>
            <a:rPr lang="en-US" sz="1400" dirty="0" err="1" smtClean="0"/>
            <a:t>Riverina</a:t>
          </a:r>
          <a:r>
            <a:rPr lang="en-US" sz="1400" dirty="0" smtClean="0"/>
            <a:t> FL</a:t>
          </a:r>
        </a:p>
        <a:p>
          <a:pPr>
            <a:lnSpc>
              <a:spcPct val="60000"/>
            </a:lnSpc>
          </a:pPr>
          <a:r>
            <a:rPr lang="en-US" sz="1400" dirty="0" smtClean="0"/>
            <a:t>- AFL Broken Hill</a:t>
          </a:r>
        </a:p>
        <a:p>
          <a:pPr>
            <a:lnSpc>
              <a:spcPct val="90000"/>
            </a:lnSpc>
          </a:pPr>
          <a:endParaRPr lang="en-US" sz="1400" dirty="0"/>
        </a:p>
      </dgm:t>
    </dgm:pt>
    <dgm:pt modelId="{81F670BF-4B2F-E142-A17E-66C8EF55074B}" type="parTrans" cxnId="{56D8D8AA-33CB-B04C-92B0-359FDE2B31C8}">
      <dgm:prSet/>
      <dgm:spPr/>
      <dgm:t>
        <a:bodyPr/>
        <a:lstStyle/>
        <a:p>
          <a:endParaRPr lang="en-US" sz="2400"/>
        </a:p>
      </dgm:t>
    </dgm:pt>
    <dgm:pt modelId="{8268BB9A-4A68-9546-82EC-B3E3ACCA428F}" type="sibTrans" cxnId="{56D8D8AA-33CB-B04C-92B0-359FDE2B31C8}">
      <dgm:prSet/>
      <dgm:spPr/>
      <dgm:t>
        <a:bodyPr/>
        <a:lstStyle/>
        <a:p>
          <a:endParaRPr lang="en-US" sz="2400"/>
        </a:p>
      </dgm:t>
    </dgm:pt>
    <dgm:pt modelId="{51525CAB-EDAF-074C-A1F4-0430D2DF75FC}">
      <dgm:prSet phldrT="[Text]" custT="1"/>
      <dgm:spPr/>
      <dgm:t>
        <a:bodyPr/>
        <a:lstStyle/>
        <a:p>
          <a:pPr>
            <a:lnSpc>
              <a:spcPct val="90000"/>
            </a:lnSpc>
          </a:pPr>
          <a:r>
            <a:rPr lang="en-US" sz="1400" b="1" dirty="0" smtClean="0"/>
            <a:t>Umpiring Development Coordinator (NNSW)</a:t>
          </a:r>
        </a:p>
        <a:p>
          <a:pPr>
            <a:lnSpc>
              <a:spcPct val="90000"/>
            </a:lnSpc>
          </a:pPr>
          <a:r>
            <a:rPr lang="en-US" sz="1400" b="0" dirty="0" smtClean="0">
              <a:solidFill>
                <a:srgbClr val="000000"/>
              </a:solidFill>
            </a:rPr>
            <a:t>Carl Fletcher</a:t>
          </a:r>
        </a:p>
        <a:p>
          <a:pPr>
            <a:lnSpc>
              <a:spcPct val="60000"/>
            </a:lnSpc>
          </a:pPr>
          <a:r>
            <a:rPr lang="en-US" sz="1400" dirty="0" smtClean="0"/>
            <a:t>- Greater Sydney Juniors</a:t>
          </a:r>
        </a:p>
        <a:p>
          <a:pPr>
            <a:lnSpc>
              <a:spcPct val="60000"/>
            </a:lnSpc>
          </a:pPr>
          <a:r>
            <a:rPr lang="en-US" sz="1400" dirty="0" smtClean="0"/>
            <a:t>- Black Diamond AFL</a:t>
          </a:r>
        </a:p>
        <a:p>
          <a:pPr>
            <a:lnSpc>
              <a:spcPct val="60000"/>
            </a:lnSpc>
          </a:pPr>
          <a:r>
            <a:rPr lang="en-US" sz="1400" dirty="0" smtClean="0"/>
            <a:t>- AFL Central West </a:t>
          </a:r>
        </a:p>
        <a:p>
          <a:pPr>
            <a:lnSpc>
              <a:spcPct val="60000"/>
            </a:lnSpc>
          </a:pPr>
          <a:r>
            <a:rPr lang="en-US" sz="1400" dirty="0" smtClean="0"/>
            <a:t>- Tamworth AFL</a:t>
          </a:r>
        </a:p>
      </dgm:t>
    </dgm:pt>
    <dgm:pt modelId="{2759500F-70BF-BB46-8D9F-31FF2CF5CBE7}" type="parTrans" cxnId="{0E9A9D46-2C9A-8646-AEDC-90792DAA5AEF}">
      <dgm:prSet/>
      <dgm:spPr/>
      <dgm:t>
        <a:bodyPr/>
        <a:lstStyle/>
        <a:p>
          <a:endParaRPr lang="en-US" sz="2400"/>
        </a:p>
      </dgm:t>
    </dgm:pt>
    <dgm:pt modelId="{EAA97EA4-275B-2B4D-AD64-16680AF90AF8}" type="sibTrans" cxnId="{0E9A9D46-2C9A-8646-AEDC-90792DAA5AEF}">
      <dgm:prSet/>
      <dgm:spPr/>
      <dgm:t>
        <a:bodyPr/>
        <a:lstStyle/>
        <a:p>
          <a:endParaRPr lang="en-US" sz="2400"/>
        </a:p>
      </dgm:t>
    </dgm:pt>
    <dgm:pt modelId="{7088C50E-9129-5347-900B-D938526890B0}" type="pres">
      <dgm:prSet presAssocID="{B3162CA3-85DF-A345-8047-5415930990D6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D967E90D-1442-1A47-8D0F-2D64D679C309}" type="pres">
      <dgm:prSet presAssocID="{14CA70A4-8284-2544-8C9D-A67CF4E6F0D0}" presName="hierRoot1" presStyleCnt="0">
        <dgm:presLayoutVars>
          <dgm:hierBranch val="init"/>
        </dgm:presLayoutVars>
      </dgm:prSet>
      <dgm:spPr/>
    </dgm:pt>
    <dgm:pt modelId="{E4FA42DE-7799-384F-BC07-21DE599F7CEE}" type="pres">
      <dgm:prSet presAssocID="{14CA70A4-8284-2544-8C9D-A67CF4E6F0D0}" presName="rootComposite1" presStyleCnt="0"/>
      <dgm:spPr/>
    </dgm:pt>
    <dgm:pt modelId="{05672051-BE78-B14C-B295-ABCE40DBC3C1}" type="pres">
      <dgm:prSet presAssocID="{14CA70A4-8284-2544-8C9D-A67CF4E6F0D0}" presName="rootText1" presStyleLbl="node0" presStyleIdx="0" presStyleCnt="1" custLinFactNeighborX="437" custLinFactNeighborY="2837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41ED520-6129-D34F-9BD0-E2054E1605AA}" type="pres">
      <dgm:prSet presAssocID="{14CA70A4-8284-2544-8C9D-A67CF4E6F0D0}" presName="rootConnector1" presStyleLbl="node1" presStyleIdx="0" presStyleCnt="0"/>
      <dgm:spPr/>
      <dgm:t>
        <a:bodyPr/>
        <a:lstStyle/>
        <a:p>
          <a:endParaRPr lang="en-US"/>
        </a:p>
      </dgm:t>
    </dgm:pt>
    <dgm:pt modelId="{E5E03D55-A375-ED4B-AFD7-01BAEF99247A}" type="pres">
      <dgm:prSet presAssocID="{14CA70A4-8284-2544-8C9D-A67CF4E6F0D0}" presName="hierChild2" presStyleCnt="0"/>
      <dgm:spPr/>
    </dgm:pt>
    <dgm:pt modelId="{DCACD5FD-56C8-C043-8FBB-F0282B34DC64}" type="pres">
      <dgm:prSet presAssocID="{69589C12-FF53-2E4A-9FB8-756575604ABA}" presName="Name37" presStyleLbl="parChTrans1D2" presStyleIdx="0" presStyleCnt="3"/>
      <dgm:spPr/>
      <dgm:t>
        <a:bodyPr/>
        <a:lstStyle/>
        <a:p>
          <a:endParaRPr lang="en-US"/>
        </a:p>
      </dgm:t>
    </dgm:pt>
    <dgm:pt modelId="{071442CF-FBD7-A94E-8C4A-FC6129C4C3AB}" type="pres">
      <dgm:prSet presAssocID="{23516135-92F1-A744-AF40-536A9ADFF823}" presName="hierRoot2" presStyleCnt="0">
        <dgm:presLayoutVars>
          <dgm:hierBranch val="init"/>
        </dgm:presLayoutVars>
      </dgm:prSet>
      <dgm:spPr/>
    </dgm:pt>
    <dgm:pt modelId="{C76F9EA6-B07E-7C40-8138-1598032DFCC0}" type="pres">
      <dgm:prSet presAssocID="{23516135-92F1-A744-AF40-536A9ADFF823}" presName="rootComposite" presStyleCnt="0"/>
      <dgm:spPr/>
    </dgm:pt>
    <dgm:pt modelId="{A67B92F4-89FF-D64F-B9E8-3F4AD53E2B29}" type="pres">
      <dgm:prSet presAssocID="{23516135-92F1-A744-AF40-536A9ADFF823}" presName="rootText" presStyleLbl="node2" presStyleIdx="0" presStyleCnt="3" custLinFactNeighborX="437" custLinFactNeighborY="7080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1781B05-3087-5F45-8486-D9F800731E12}" type="pres">
      <dgm:prSet presAssocID="{23516135-92F1-A744-AF40-536A9ADFF823}" presName="rootConnector" presStyleLbl="node2" presStyleIdx="0" presStyleCnt="3"/>
      <dgm:spPr/>
      <dgm:t>
        <a:bodyPr/>
        <a:lstStyle/>
        <a:p>
          <a:endParaRPr lang="en-US"/>
        </a:p>
      </dgm:t>
    </dgm:pt>
    <dgm:pt modelId="{5071D9CF-97EE-D648-BCC8-B53BBA19ADDF}" type="pres">
      <dgm:prSet presAssocID="{23516135-92F1-A744-AF40-536A9ADFF823}" presName="hierChild4" presStyleCnt="0"/>
      <dgm:spPr/>
    </dgm:pt>
    <dgm:pt modelId="{3211F629-96C9-0349-B07B-F9351A944741}" type="pres">
      <dgm:prSet presAssocID="{23516135-92F1-A744-AF40-536A9ADFF823}" presName="hierChild5" presStyleCnt="0"/>
      <dgm:spPr/>
    </dgm:pt>
    <dgm:pt modelId="{3ED2AE89-720E-A34B-8969-2D17763D7CDD}" type="pres">
      <dgm:prSet presAssocID="{81F670BF-4B2F-E142-A17E-66C8EF55074B}" presName="Name37" presStyleLbl="parChTrans1D2" presStyleIdx="1" presStyleCnt="3"/>
      <dgm:spPr/>
      <dgm:t>
        <a:bodyPr/>
        <a:lstStyle/>
        <a:p>
          <a:endParaRPr lang="en-US"/>
        </a:p>
      </dgm:t>
    </dgm:pt>
    <dgm:pt modelId="{0AEFD50D-2CCD-FA4C-925E-4FC67ECF2211}" type="pres">
      <dgm:prSet presAssocID="{E0C2407C-FC53-484B-9696-CFD98C6A6550}" presName="hierRoot2" presStyleCnt="0">
        <dgm:presLayoutVars>
          <dgm:hierBranch val="init"/>
        </dgm:presLayoutVars>
      </dgm:prSet>
      <dgm:spPr/>
    </dgm:pt>
    <dgm:pt modelId="{90F75787-E019-E54C-A514-EC6692EFCE00}" type="pres">
      <dgm:prSet presAssocID="{E0C2407C-FC53-484B-9696-CFD98C6A6550}" presName="rootComposite" presStyleCnt="0"/>
      <dgm:spPr/>
    </dgm:pt>
    <dgm:pt modelId="{0C214C94-50DD-ED4A-B3D7-43AC25F6F684}" type="pres">
      <dgm:prSet presAssocID="{E0C2407C-FC53-484B-9696-CFD98C6A6550}" presName="rootText" presStyleLbl="node2" presStyleIdx="1" presStyleCnt="3" custScaleY="105945" custLinFactNeighborX="437" custLinFactNeighborY="7080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E944770-A712-0C40-8383-CCC6D4F76456}" type="pres">
      <dgm:prSet presAssocID="{E0C2407C-FC53-484B-9696-CFD98C6A6550}" presName="rootConnector" presStyleLbl="node2" presStyleIdx="1" presStyleCnt="3"/>
      <dgm:spPr/>
      <dgm:t>
        <a:bodyPr/>
        <a:lstStyle/>
        <a:p>
          <a:endParaRPr lang="en-US"/>
        </a:p>
      </dgm:t>
    </dgm:pt>
    <dgm:pt modelId="{6FD40137-D5BB-4040-B385-48F6AFF534F6}" type="pres">
      <dgm:prSet presAssocID="{E0C2407C-FC53-484B-9696-CFD98C6A6550}" presName="hierChild4" presStyleCnt="0"/>
      <dgm:spPr/>
    </dgm:pt>
    <dgm:pt modelId="{BD8F64EF-FEA7-CD42-AF08-95D0B1D21AB3}" type="pres">
      <dgm:prSet presAssocID="{E0C2407C-FC53-484B-9696-CFD98C6A6550}" presName="hierChild5" presStyleCnt="0"/>
      <dgm:spPr/>
    </dgm:pt>
    <dgm:pt modelId="{38811C46-972E-4247-BF9C-8DFDB0A83304}" type="pres">
      <dgm:prSet presAssocID="{2759500F-70BF-BB46-8D9F-31FF2CF5CBE7}" presName="Name37" presStyleLbl="parChTrans1D2" presStyleIdx="2" presStyleCnt="3"/>
      <dgm:spPr/>
      <dgm:t>
        <a:bodyPr/>
        <a:lstStyle/>
        <a:p>
          <a:endParaRPr lang="en-US"/>
        </a:p>
      </dgm:t>
    </dgm:pt>
    <dgm:pt modelId="{63427994-9BB2-0347-95B2-BAB25A46626F}" type="pres">
      <dgm:prSet presAssocID="{51525CAB-EDAF-074C-A1F4-0430D2DF75FC}" presName="hierRoot2" presStyleCnt="0">
        <dgm:presLayoutVars>
          <dgm:hierBranch val="init"/>
        </dgm:presLayoutVars>
      </dgm:prSet>
      <dgm:spPr/>
    </dgm:pt>
    <dgm:pt modelId="{B13F15A6-E46E-E545-84FF-71BA56F575A5}" type="pres">
      <dgm:prSet presAssocID="{51525CAB-EDAF-074C-A1F4-0430D2DF75FC}" presName="rootComposite" presStyleCnt="0"/>
      <dgm:spPr/>
    </dgm:pt>
    <dgm:pt modelId="{7599C56A-5A9C-F64B-8EE9-301873DCD2DD}" type="pres">
      <dgm:prSet presAssocID="{51525CAB-EDAF-074C-A1F4-0430D2DF75FC}" presName="rootText" presStyleLbl="node2" presStyleIdx="2" presStyleCnt="3" custScaleY="117113" custLinFactNeighborX="23" custLinFactNeighborY="7080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E893FD7-B8E6-304E-98DF-7A6E2C2575D0}" type="pres">
      <dgm:prSet presAssocID="{51525CAB-EDAF-074C-A1F4-0430D2DF75FC}" presName="rootConnector" presStyleLbl="node2" presStyleIdx="2" presStyleCnt="3"/>
      <dgm:spPr/>
      <dgm:t>
        <a:bodyPr/>
        <a:lstStyle/>
        <a:p>
          <a:endParaRPr lang="en-US"/>
        </a:p>
      </dgm:t>
    </dgm:pt>
    <dgm:pt modelId="{1D1A8E4E-256B-C842-BF0D-DF9EE7B11E1E}" type="pres">
      <dgm:prSet presAssocID="{51525CAB-EDAF-074C-A1F4-0430D2DF75FC}" presName="hierChild4" presStyleCnt="0"/>
      <dgm:spPr/>
    </dgm:pt>
    <dgm:pt modelId="{D4FC53B8-334D-A345-AC73-140DCC7244B6}" type="pres">
      <dgm:prSet presAssocID="{51525CAB-EDAF-074C-A1F4-0430D2DF75FC}" presName="hierChild5" presStyleCnt="0"/>
      <dgm:spPr/>
    </dgm:pt>
    <dgm:pt modelId="{8F7AE2EF-1B0D-5A4F-BBAF-D59B36E15606}" type="pres">
      <dgm:prSet presAssocID="{14CA70A4-8284-2544-8C9D-A67CF4E6F0D0}" presName="hierChild3" presStyleCnt="0"/>
      <dgm:spPr/>
    </dgm:pt>
  </dgm:ptLst>
  <dgm:cxnLst>
    <dgm:cxn modelId="{56D8D8AA-33CB-B04C-92B0-359FDE2B31C8}" srcId="{14CA70A4-8284-2544-8C9D-A67CF4E6F0D0}" destId="{E0C2407C-FC53-484B-9696-CFD98C6A6550}" srcOrd="1" destOrd="0" parTransId="{81F670BF-4B2F-E142-A17E-66C8EF55074B}" sibTransId="{8268BB9A-4A68-9546-82EC-B3E3ACCA428F}"/>
    <dgm:cxn modelId="{0E9A9D46-2C9A-8646-AEDC-90792DAA5AEF}" srcId="{14CA70A4-8284-2544-8C9D-A67CF4E6F0D0}" destId="{51525CAB-EDAF-074C-A1F4-0430D2DF75FC}" srcOrd="2" destOrd="0" parTransId="{2759500F-70BF-BB46-8D9F-31FF2CF5CBE7}" sibTransId="{EAA97EA4-275B-2B4D-AD64-16680AF90AF8}"/>
    <dgm:cxn modelId="{236372FA-DF13-B84E-A624-E15071A4FFEE}" srcId="{B3162CA3-85DF-A345-8047-5415930990D6}" destId="{14CA70A4-8284-2544-8C9D-A67CF4E6F0D0}" srcOrd="0" destOrd="0" parTransId="{BA4FFB08-4D79-CA4B-B4A1-1B84FCDEA600}" sibTransId="{25968255-636A-5942-ACA8-A927D4AC7705}"/>
    <dgm:cxn modelId="{8E832660-1A35-1548-AABF-300D4BB2CEF5}" type="presOf" srcId="{81F670BF-4B2F-E142-A17E-66C8EF55074B}" destId="{3ED2AE89-720E-A34B-8969-2D17763D7CDD}" srcOrd="0" destOrd="0" presId="urn:microsoft.com/office/officeart/2005/8/layout/orgChart1"/>
    <dgm:cxn modelId="{12EA360F-EEAA-4A4E-80E3-8D81BF92AF38}" type="presOf" srcId="{14CA70A4-8284-2544-8C9D-A67CF4E6F0D0}" destId="{C41ED520-6129-D34F-9BD0-E2054E1605AA}" srcOrd="1" destOrd="0" presId="urn:microsoft.com/office/officeart/2005/8/layout/orgChart1"/>
    <dgm:cxn modelId="{F910A682-74BD-F140-BFBC-B4CF7A8235E1}" type="presOf" srcId="{69589C12-FF53-2E4A-9FB8-756575604ABA}" destId="{DCACD5FD-56C8-C043-8FBB-F0282B34DC64}" srcOrd="0" destOrd="0" presId="urn:microsoft.com/office/officeart/2005/8/layout/orgChart1"/>
    <dgm:cxn modelId="{B9735FF1-2EB0-9747-87B4-73E45BC74338}" type="presOf" srcId="{E0C2407C-FC53-484B-9696-CFD98C6A6550}" destId="{DE944770-A712-0C40-8383-CCC6D4F76456}" srcOrd="1" destOrd="0" presId="urn:microsoft.com/office/officeart/2005/8/layout/orgChart1"/>
    <dgm:cxn modelId="{3D14CC40-AF40-6742-A484-DFEE2591650E}" type="presOf" srcId="{51525CAB-EDAF-074C-A1F4-0430D2DF75FC}" destId="{7599C56A-5A9C-F64B-8EE9-301873DCD2DD}" srcOrd="0" destOrd="0" presId="urn:microsoft.com/office/officeart/2005/8/layout/orgChart1"/>
    <dgm:cxn modelId="{FCC1B4A4-914B-6642-8378-80C1B84A25A4}" type="presOf" srcId="{14CA70A4-8284-2544-8C9D-A67CF4E6F0D0}" destId="{05672051-BE78-B14C-B295-ABCE40DBC3C1}" srcOrd="0" destOrd="0" presId="urn:microsoft.com/office/officeart/2005/8/layout/orgChart1"/>
    <dgm:cxn modelId="{251B032E-E16A-3644-9734-283DC41E575D}" type="presOf" srcId="{51525CAB-EDAF-074C-A1F4-0430D2DF75FC}" destId="{FE893FD7-B8E6-304E-98DF-7A6E2C2575D0}" srcOrd="1" destOrd="0" presId="urn:microsoft.com/office/officeart/2005/8/layout/orgChart1"/>
    <dgm:cxn modelId="{68488AF3-B2B9-C348-937B-E2FD407CB002}" type="presOf" srcId="{B3162CA3-85DF-A345-8047-5415930990D6}" destId="{7088C50E-9129-5347-900B-D938526890B0}" srcOrd="0" destOrd="0" presId="urn:microsoft.com/office/officeart/2005/8/layout/orgChart1"/>
    <dgm:cxn modelId="{0FDD2D27-8B15-6341-8CB5-C8E133CECC1A}" type="presOf" srcId="{E0C2407C-FC53-484B-9696-CFD98C6A6550}" destId="{0C214C94-50DD-ED4A-B3D7-43AC25F6F684}" srcOrd="0" destOrd="0" presId="urn:microsoft.com/office/officeart/2005/8/layout/orgChart1"/>
    <dgm:cxn modelId="{AED13530-5505-F74D-88F8-D3EB59A878F6}" type="presOf" srcId="{23516135-92F1-A744-AF40-536A9ADFF823}" destId="{A67B92F4-89FF-D64F-B9E8-3F4AD53E2B29}" srcOrd="0" destOrd="0" presId="urn:microsoft.com/office/officeart/2005/8/layout/orgChart1"/>
    <dgm:cxn modelId="{241D7537-8FEE-3843-834B-27FA7C1455F9}" type="presOf" srcId="{23516135-92F1-A744-AF40-536A9ADFF823}" destId="{71781B05-3087-5F45-8486-D9F800731E12}" srcOrd="1" destOrd="0" presId="urn:microsoft.com/office/officeart/2005/8/layout/orgChart1"/>
    <dgm:cxn modelId="{281FCB7B-599A-284C-AD62-A132C13C9876}" srcId="{14CA70A4-8284-2544-8C9D-A67CF4E6F0D0}" destId="{23516135-92F1-A744-AF40-536A9ADFF823}" srcOrd="0" destOrd="0" parTransId="{69589C12-FF53-2E4A-9FB8-756575604ABA}" sibTransId="{09BF2937-BDC3-9B49-A859-1CFB3BD1B9FC}"/>
    <dgm:cxn modelId="{8ABBCE7A-DD67-484A-8258-7FC6AFDA52FF}" type="presOf" srcId="{2759500F-70BF-BB46-8D9F-31FF2CF5CBE7}" destId="{38811C46-972E-4247-BF9C-8DFDB0A83304}" srcOrd="0" destOrd="0" presId="urn:microsoft.com/office/officeart/2005/8/layout/orgChart1"/>
    <dgm:cxn modelId="{01C8018A-CA5E-8A48-862F-BEA1F350C88B}" type="presParOf" srcId="{7088C50E-9129-5347-900B-D938526890B0}" destId="{D967E90D-1442-1A47-8D0F-2D64D679C309}" srcOrd="0" destOrd="0" presId="urn:microsoft.com/office/officeart/2005/8/layout/orgChart1"/>
    <dgm:cxn modelId="{00C38B1C-6A6C-E548-B60C-B8B4C430F324}" type="presParOf" srcId="{D967E90D-1442-1A47-8D0F-2D64D679C309}" destId="{E4FA42DE-7799-384F-BC07-21DE599F7CEE}" srcOrd="0" destOrd="0" presId="urn:microsoft.com/office/officeart/2005/8/layout/orgChart1"/>
    <dgm:cxn modelId="{BABC92B6-C26B-6E49-A91F-99846757D09E}" type="presParOf" srcId="{E4FA42DE-7799-384F-BC07-21DE599F7CEE}" destId="{05672051-BE78-B14C-B295-ABCE40DBC3C1}" srcOrd="0" destOrd="0" presId="urn:microsoft.com/office/officeart/2005/8/layout/orgChart1"/>
    <dgm:cxn modelId="{42C0626B-6C07-8544-AEC9-0A4AA21C0000}" type="presParOf" srcId="{E4FA42DE-7799-384F-BC07-21DE599F7CEE}" destId="{C41ED520-6129-D34F-9BD0-E2054E1605AA}" srcOrd="1" destOrd="0" presId="urn:microsoft.com/office/officeart/2005/8/layout/orgChart1"/>
    <dgm:cxn modelId="{A5526153-012D-5748-8BF8-E35846B32CEC}" type="presParOf" srcId="{D967E90D-1442-1A47-8D0F-2D64D679C309}" destId="{E5E03D55-A375-ED4B-AFD7-01BAEF99247A}" srcOrd="1" destOrd="0" presId="urn:microsoft.com/office/officeart/2005/8/layout/orgChart1"/>
    <dgm:cxn modelId="{DE77B971-6B7B-E64B-9CE6-A0F5D314D1A2}" type="presParOf" srcId="{E5E03D55-A375-ED4B-AFD7-01BAEF99247A}" destId="{DCACD5FD-56C8-C043-8FBB-F0282B34DC64}" srcOrd="0" destOrd="0" presId="urn:microsoft.com/office/officeart/2005/8/layout/orgChart1"/>
    <dgm:cxn modelId="{45D6DB0E-BAB7-DD45-95F2-1AD6507C41A8}" type="presParOf" srcId="{E5E03D55-A375-ED4B-AFD7-01BAEF99247A}" destId="{071442CF-FBD7-A94E-8C4A-FC6129C4C3AB}" srcOrd="1" destOrd="0" presId="urn:microsoft.com/office/officeart/2005/8/layout/orgChart1"/>
    <dgm:cxn modelId="{6D7B00AB-9AF9-6642-AB0C-43CA26B17198}" type="presParOf" srcId="{071442CF-FBD7-A94E-8C4A-FC6129C4C3AB}" destId="{C76F9EA6-B07E-7C40-8138-1598032DFCC0}" srcOrd="0" destOrd="0" presId="urn:microsoft.com/office/officeart/2005/8/layout/orgChart1"/>
    <dgm:cxn modelId="{326161CE-CE9B-EC45-AEF5-FC378FC516DE}" type="presParOf" srcId="{C76F9EA6-B07E-7C40-8138-1598032DFCC0}" destId="{A67B92F4-89FF-D64F-B9E8-3F4AD53E2B29}" srcOrd="0" destOrd="0" presId="urn:microsoft.com/office/officeart/2005/8/layout/orgChart1"/>
    <dgm:cxn modelId="{8B16C7A4-9F22-2145-98D7-15B7093B22B3}" type="presParOf" srcId="{C76F9EA6-B07E-7C40-8138-1598032DFCC0}" destId="{71781B05-3087-5F45-8486-D9F800731E12}" srcOrd="1" destOrd="0" presId="urn:microsoft.com/office/officeart/2005/8/layout/orgChart1"/>
    <dgm:cxn modelId="{73292377-5155-204B-889E-463F993C990F}" type="presParOf" srcId="{071442CF-FBD7-A94E-8C4A-FC6129C4C3AB}" destId="{5071D9CF-97EE-D648-BCC8-B53BBA19ADDF}" srcOrd="1" destOrd="0" presId="urn:microsoft.com/office/officeart/2005/8/layout/orgChart1"/>
    <dgm:cxn modelId="{D54937E8-4358-A040-9F4A-4ABC46A44BD2}" type="presParOf" srcId="{071442CF-FBD7-A94E-8C4A-FC6129C4C3AB}" destId="{3211F629-96C9-0349-B07B-F9351A944741}" srcOrd="2" destOrd="0" presId="urn:microsoft.com/office/officeart/2005/8/layout/orgChart1"/>
    <dgm:cxn modelId="{B8EDEAEF-D500-364D-9FB8-951DA89B67DE}" type="presParOf" srcId="{E5E03D55-A375-ED4B-AFD7-01BAEF99247A}" destId="{3ED2AE89-720E-A34B-8969-2D17763D7CDD}" srcOrd="2" destOrd="0" presId="urn:microsoft.com/office/officeart/2005/8/layout/orgChart1"/>
    <dgm:cxn modelId="{E879C344-A48D-FC44-AD39-01E94D130D13}" type="presParOf" srcId="{E5E03D55-A375-ED4B-AFD7-01BAEF99247A}" destId="{0AEFD50D-2CCD-FA4C-925E-4FC67ECF2211}" srcOrd="3" destOrd="0" presId="urn:microsoft.com/office/officeart/2005/8/layout/orgChart1"/>
    <dgm:cxn modelId="{94FB7073-62BD-4F45-9684-E05C244D7984}" type="presParOf" srcId="{0AEFD50D-2CCD-FA4C-925E-4FC67ECF2211}" destId="{90F75787-E019-E54C-A514-EC6692EFCE00}" srcOrd="0" destOrd="0" presId="urn:microsoft.com/office/officeart/2005/8/layout/orgChart1"/>
    <dgm:cxn modelId="{D93E0006-6EE3-E24D-B892-36E8091AE165}" type="presParOf" srcId="{90F75787-E019-E54C-A514-EC6692EFCE00}" destId="{0C214C94-50DD-ED4A-B3D7-43AC25F6F684}" srcOrd="0" destOrd="0" presId="urn:microsoft.com/office/officeart/2005/8/layout/orgChart1"/>
    <dgm:cxn modelId="{CAEBA017-E4FA-1042-81E7-F733C378E918}" type="presParOf" srcId="{90F75787-E019-E54C-A514-EC6692EFCE00}" destId="{DE944770-A712-0C40-8383-CCC6D4F76456}" srcOrd="1" destOrd="0" presId="urn:microsoft.com/office/officeart/2005/8/layout/orgChart1"/>
    <dgm:cxn modelId="{FE9BA8EE-8F2B-7F41-9D57-68C807A2B8D2}" type="presParOf" srcId="{0AEFD50D-2CCD-FA4C-925E-4FC67ECF2211}" destId="{6FD40137-D5BB-4040-B385-48F6AFF534F6}" srcOrd="1" destOrd="0" presId="urn:microsoft.com/office/officeart/2005/8/layout/orgChart1"/>
    <dgm:cxn modelId="{1DCAA62C-7F07-0E47-BD60-5466D890BE4D}" type="presParOf" srcId="{0AEFD50D-2CCD-FA4C-925E-4FC67ECF2211}" destId="{BD8F64EF-FEA7-CD42-AF08-95D0B1D21AB3}" srcOrd="2" destOrd="0" presId="urn:microsoft.com/office/officeart/2005/8/layout/orgChart1"/>
    <dgm:cxn modelId="{14C5FF21-7902-C148-A88D-6793F0F79D1A}" type="presParOf" srcId="{E5E03D55-A375-ED4B-AFD7-01BAEF99247A}" destId="{38811C46-972E-4247-BF9C-8DFDB0A83304}" srcOrd="4" destOrd="0" presId="urn:microsoft.com/office/officeart/2005/8/layout/orgChart1"/>
    <dgm:cxn modelId="{7AA223AD-5E4D-C24D-BDAF-23FCB876F85B}" type="presParOf" srcId="{E5E03D55-A375-ED4B-AFD7-01BAEF99247A}" destId="{63427994-9BB2-0347-95B2-BAB25A46626F}" srcOrd="5" destOrd="0" presId="urn:microsoft.com/office/officeart/2005/8/layout/orgChart1"/>
    <dgm:cxn modelId="{918A0365-5DFA-6C4F-8587-D24C668851D5}" type="presParOf" srcId="{63427994-9BB2-0347-95B2-BAB25A46626F}" destId="{B13F15A6-E46E-E545-84FF-71BA56F575A5}" srcOrd="0" destOrd="0" presId="urn:microsoft.com/office/officeart/2005/8/layout/orgChart1"/>
    <dgm:cxn modelId="{6726B6DE-8D8F-9942-B9A7-81EC1C865028}" type="presParOf" srcId="{B13F15A6-E46E-E545-84FF-71BA56F575A5}" destId="{7599C56A-5A9C-F64B-8EE9-301873DCD2DD}" srcOrd="0" destOrd="0" presId="urn:microsoft.com/office/officeart/2005/8/layout/orgChart1"/>
    <dgm:cxn modelId="{F76C4D44-6DF0-374C-ADBE-E896D5CB03DA}" type="presParOf" srcId="{B13F15A6-E46E-E545-84FF-71BA56F575A5}" destId="{FE893FD7-B8E6-304E-98DF-7A6E2C2575D0}" srcOrd="1" destOrd="0" presId="urn:microsoft.com/office/officeart/2005/8/layout/orgChart1"/>
    <dgm:cxn modelId="{E1CF11D9-1C7F-184B-866A-12FBE8711E6F}" type="presParOf" srcId="{63427994-9BB2-0347-95B2-BAB25A46626F}" destId="{1D1A8E4E-256B-C842-BF0D-DF9EE7B11E1E}" srcOrd="1" destOrd="0" presId="urn:microsoft.com/office/officeart/2005/8/layout/orgChart1"/>
    <dgm:cxn modelId="{55D10791-9602-1A4B-B337-31A14C33C6A4}" type="presParOf" srcId="{63427994-9BB2-0347-95B2-BAB25A46626F}" destId="{D4FC53B8-334D-A345-AC73-140DCC7244B6}" srcOrd="2" destOrd="0" presId="urn:microsoft.com/office/officeart/2005/8/layout/orgChart1"/>
    <dgm:cxn modelId="{8A9DF3E3-C21E-0B46-9043-535E12B208A4}" type="presParOf" srcId="{D967E90D-1442-1A47-8D0F-2D64D679C309}" destId="{8F7AE2EF-1B0D-5A4F-BBAF-D59B36E15606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8811C46-972E-4247-BF9C-8DFDB0A83304}">
      <dsp:nvSpPr>
        <dsp:cNvPr id="0" name=""/>
        <dsp:cNvSpPr/>
      </dsp:nvSpPr>
      <dsp:spPr>
        <a:xfrm>
          <a:off x="4421925" y="2793025"/>
          <a:ext cx="3109893" cy="108878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17989"/>
              </a:lnTo>
              <a:lnTo>
                <a:pt x="3109893" y="817989"/>
              </a:lnTo>
              <a:lnTo>
                <a:pt x="3109893" y="1088782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D2AE89-720E-A34B-8969-2D17763D7CDD}">
      <dsp:nvSpPr>
        <dsp:cNvPr id="0" name=""/>
        <dsp:cNvSpPr/>
      </dsp:nvSpPr>
      <dsp:spPr>
        <a:xfrm>
          <a:off x="4376205" y="2793025"/>
          <a:ext cx="91440" cy="108878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088782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ACD5FD-56C8-C043-8FBB-F0282B34DC64}">
      <dsp:nvSpPr>
        <dsp:cNvPr id="0" name=""/>
        <dsp:cNvSpPr/>
      </dsp:nvSpPr>
      <dsp:spPr>
        <a:xfrm>
          <a:off x="1301354" y="2793025"/>
          <a:ext cx="3120571" cy="1088782"/>
        </a:xfrm>
        <a:custGeom>
          <a:avLst/>
          <a:gdLst/>
          <a:ahLst/>
          <a:cxnLst/>
          <a:rect l="0" t="0" r="0" b="0"/>
          <a:pathLst>
            <a:path>
              <a:moveTo>
                <a:pt x="3120571" y="0"/>
              </a:moveTo>
              <a:lnTo>
                <a:pt x="3120571" y="817989"/>
              </a:lnTo>
              <a:lnTo>
                <a:pt x="0" y="817989"/>
              </a:lnTo>
              <a:lnTo>
                <a:pt x="0" y="1088782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5672051-BE78-B14C-B295-ABCE40DBC3C1}">
      <dsp:nvSpPr>
        <dsp:cNvPr id="0" name=""/>
        <dsp:cNvSpPr/>
      </dsp:nvSpPr>
      <dsp:spPr>
        <a:xfrm>
          <a:off x="3132433" y="1503532"/>
          <a:ext cx="2578984" cy="128949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Community Umpiring Manager NSW/ACT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kern="1200" dirty="0" smtClean="0">
              <a:solidFill>
                <a:srgbClr val="000000"/>
              </a:solidFill>
            </a:rPr>
            <a:t>Graham </a:t>
          </a:r>
          <a:r>
            <a:rPr lang="en-US" sz="1400" b="0" kern="1200" dirty="0" err="1" smtClean="0">
              <a:solidFill>
                <a:srgbClr val="000000"/>
              </a:solidFill>
            </a:rPr>
            <a:t>Glassford</a:t>
          </a:r>
          <a:endParaRPr lang="en-US" sz="1400" b="0" kern="1200" dirty="0" smtClean="0">
            <a:solidFill>
              <a:srgbClr val="000000"/>
            </a:solidFill>
          </a:endParaRPr>
        </a:p>
        <a:p>
          <a:pPr lvl="0" algn="ctr" defTabSz="622300">
            <a:lnSpc>
              <a:spcPct val="6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- AFL Sydney</a:t>
          </a:r>
        </a:p>
        <a:p>
          <a:pPr lvl="0" algn="ctr" defTabSz="622300">
            <a:lnSpc>
              <a:spcPct val="6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- AFL North Coast</a:t>
          </a:r>
        </a:p>
      </dsp:txBody>
      <dsp:txXfrm>
        <a:off x="3132433" y="1503532"/>
        <a:ext cx="2578984" cy="1289492"/>
      </dsp:txXfrm>
    </dsp:sp>
    <dsp:sp modelId="{A67B92F4-89FF-D64F-B9E8-3F4AD53E2B29}">
      <dsp:nvSpPr>
        <dsp:cNvPr id="0" name=""/>
        <dsp:cNvSpPr/>
      </dsp:nvSpPr>
      <dsp:spPr>
        <a:xfrm>
          <a:off x="11862" y="3881807"/>
          <a:ext cx="2578984" cy="128949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Umpiring Development Coordinator (ACT/South Coast)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kern="1200" dirty="0" smtClean="0">
              <a:solidFill>
                <a:srgbClr val="000000"/>
              </a:solidFill>
            </a:rPr>
            <a:t>Cameron Black </a:t>
          </a:r>
        </a:p>
        <a:p>
          <a:pPr lvl="0" algn="ctr" defTabSz="622300">
            <a:lnSpc>
              <a:spcPct val="6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- AFL Canberra</a:t>
          </a:r>
        </a:p>
        <a:p>
          <a:pPr lvl="0" algn="ctr" defTabSz="622300">
            <a:lnSpc>
              <a:spcPct val="6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- AFL South Coast</a:t>
          </a:r>
        </a:p>
        <a:p>
          <a:pPr lvl="0" algn="ctr" defTabSz="622300">
            <a:lnSpc>
              <a:spcPct val="6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- Sapphire Coast AFL</a:t>
          </a:r>
          <a:endParaRPr lang="en-US" sz="1400" kern="1200" dirty="0"/>
        </a:p>
      </dsp:txBody>
      <dsp:txXfrm>
        <a:off x="11862" y="3881807"/>
        <a:ext cx="2578984" cy="1289492"/>
      </dsp:txXfrm>
    </dsp:sp>
    <dsp:sp modelId="{0C214C94-50DD-ED4A-B3D7-43AC25F6F684}">
      <dsp:nvSpPr>
        <dsp:cNvPr id="0" name=""/>
        <dsp:cNvSpPr/>
      </dsp:nvSpPr>
      <dsp:spPr>
        <a:xfrm>
          <a:off x="3132433" y="3881807"/>
          <a:ext cx="2578984" cy="136615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Umpiring Development Coordinator (SNSW)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kern="1200" dirty="0" smtClean="0">
              <a:solidFill>
                <a:srgbClr val="000000"/>
              </a:solidFill>
            </a:rPr>
            <a:t>Troy </a:t>
          </a:r>
          <a:r>
            <a:rPr lang="en-US" sz="1400" b="0" kern="1200" dirty="0" err="1" smtClean="0">
              <a:solidFill>
                <a:srgbClr val="000000"/>
              </a:solidFill>
            </a:rPr>
            <a:t>Mavroudis</a:t>
          </a:r>
          <a:endParaRPr lang="en-US" sz="1400" b="0" kern="1200" dirty="0" smtClean="0">
            <a:solidFill>
              <a:srgbClr val="000000"/>
            </a:solidFill>
          </a:endParaRPr>
        </a:p>
        <a:p>
          <a:pPr lvl="0" algn="ctr" defTabSz="622300">
            <a:lnSpc>
              <a:spcPct val="6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- AFL </a:t>
          </a:r>
          <a:r>
            <a:rPr lang="en-US" sz="1400" kern="1200" dirty="0" err="1" smtClean="0"/>
            <a:t>Riverina</a:t>
          </a:r>
          <a:r>
            <a:rPr lang="en-US" sz="1400" kern="1200" dirty="0" smtClean="0"/>
            <a:t> (</a:t>
          </a:r>
          <a:r>
            <a:rPr lang="en-US" sz="1400" kern="1200" dirty="0" err="1" smtClean="0"/>
            <a:t>Farrer</a:t>
          </a:r>
          <a:r>
            <a:rPr lang="en-US" sz="1400" kern="1200" dirty="0" smtClean="0"/>
            <a:t> &amp; </a:t>
          </a:r>
          <a:r>
            <a:rPr lang="en-US" sz="1400" kern="1200" dirty="0" err="1" smtClean="0"/>
            <a:t>Riverina</a:t>
          </a:r>
          <a:r>
            <a:rPr lang="en-US" sz="1400" kern="1200" dirty="0" smtClean="0"/>
            <a:t> FL)</a:t>
          </a:r>
        </a:p>
        <a:p>
          <a:pPr lvl="0" algn="ctr" defTabSz="622300">
            <a:lnSpc>
              <a:spcPct val="6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- Hume FL &amp; Northern </a:t>
          </a:r>
          <a:r>
            <a:rPr lang="en-US" sz="1400" kern="1200" dirty="0" err="1" smtClean="0"/>
            <a:t>Riverina</a:t>
          </a:r>
          <a:r>
            <a:rPr lang="en-US" sz="1400" kern="1200" dirty="0" smtClean="0"/>
            <a:t> FL</a:t>
          </a:r>
        </a:p>
        <a:p>
          <a:pPr lvl="0" algn="ctr" defTabSz="622300">
            <a:lnSpc>
              <a:spcPct val="6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- AFL Broken Hill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>
        <a:off x="3132433" y="3881807"/>
        <a:ext cx="2578984" cy="1366152"/>
      </dsp:txXfrm>
    </dsp:sp>
    <dsp:sp modelId="{7599C56A-5A9C-F64B-8EE9-301873DCD2DD}">
      <dsp:nvSpPr>
        <dsp:cNvPr id="0" name=""/>
        <dsp:cNvSpPr/>
      </dsp:nvSpPr>
      <dsp:spPr>
        <a:xfrm>
          <a:off x="6242326" y="3881807"/>
          <a:ext cx="2578984" cy="151016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Umpiring Development Coordinator (NNSW)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kern="1200" dirty="0" smtClean="0">
              <a:solidFill>
                <a:srgbClr val="000000"/>
              </a:solidFill>
            </a:rPr>
            <a:t>Carl Fletcher</a:t>
          </a:r>
        </a:p>
        <a:p>
          <a:pPr lvl="0" algn="ctr" defTabSz="622300">
            <a:lnSpc>
              <a:spcPct val="6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- Greater Sydney Juniors</a:t>
          </a:r>
        </a:p>
        <a:p>
          <a:pPr lvl="0" algn="ctr" defTabSz="622300">
            <a:lnSpc>
              <a:spcPct val="6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- Black Diamond AFL</a:t>
          </a:r>
        </a:p>
        <a:p>
          <a:pPr lvl="0" algn="ctr" defTabSz="622300">
            <a:lnSpc>
              <a:spcPct val="6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- AFL Central West </a:t>
          </a:r>
        </a:p>
        <a:p>
          <a:pPr lvl="0" algn="ctr" defTabSz="622300">
            <a:lnSpc>
              <a:spcPct val="6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- Tamworth AFL</a:t>
          </a:r>
        </a:p>
      </dsp:txBody>
      <dsp:txXfrm>
        <a:off x="6242326" y="3881807"/>
        <a:ext cx="2578984" cy="15101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2733" cy="465818"/>
          </a:xfrm>
          <a:prstGeom prst="rect">
            <a:avLst/>
          </a:prstGeom>
        </p:spPr>
        <p:txBody>
          <a:bodyPr vert="horz" lIns="91559" tIns="45779" rIns="91559" bIns="4577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5554" y="0"/>
            <a:ext cx="3042733" cy="465818"/>
          </a:xfrm>
          <a:prstGeom prst="rect">
            <a:avLst/>
          </a:prstGeom>
        </p:spPr>
        <p:txBody>
          <a:bodyPr vert="horz" lIns="91559" tIns="45779" rIns="91559" bIns="45779" rtlCol="0"/>
          <a:lstStyle>
            <a:lvl1pPr algn="r">
              <a:defRPr sz="1200"/>
            </a:lvl1pPr>
          </a:lstStyle>
          <a:p>
            <a:fld id="{D28E803F-D116-4F26-986E-9761DEB67B2F}" type="datetimeFigureOut">
              <a:rPr lang="en-US" smtClean="0"/>
              <a:pPr/>
              <a:t>2/4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38621"/>
            <a:ext cx="3042733" cy="465817"/>
          </a:xfrm>
          <a:prstGeom prst="rect">
            <a:avLst/>
          </a:prstGeom>
        </p:spPr>
        <p:txBody>
          <a:bodyPr vert="horz" lIns="91559" tIns="45779" rIns="91559" bIns="4577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5554" y="8838621"/>
            <a:ext cx="3042733" cy="465817"/>
          </a:xfrm>
          <a:prstGeom prst="rect">
            <a:avLst/>
          </a:prstGeom>
        </p:spPr>
        <p:txBody>
          <a:bodyPr vert="horz" lIns="91559" tIns="45779" rIns="91559" bIns="45779" rtlCol="0" anchor="b"/>
          <a:lstStyle>
            <a:lvl1pPr algn="r">
              <a:defRPr sz="1200"/>
            </a:lvl1pPr>
          </a:lstStyle>
          <a:p>
            <a:fld id="{093C4A6E-7A7C-48E2-8EB8-A320A3D618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5126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2733" cy="465818"/>
          </a:xfrm>
          <a:prstGeom prst="rect">
            <a:avLst/>
          </a:prstGeom>
        </p:spPr>
        <p:txBody>
          <a:bodyPr vert="horz" lIns="91559" tIns="45779" rIns="91559" bIns="45779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5554" y="0"/>
            <a:ext cx="3042733" cy="465818"/>
          </a:xfrm>
          <a:prstGeom prst="rect">
            <a:avLst/>
          </a:prstGeom>
        </p:spPr>
        <p:txBody>
          <a:bodyPr vert="horz" lIns="91559" tIns="45779" rIns="91559" bIns="45779" rtlCol="0"/>
          <a:lstStyle>
            <a:lvl1pPr algn="r">
              <a:defRPr sz="1200"/>
            </a:lvl1pPr>
          </a:lstStyle>
          <a:p>
            <a:fld id="{B85EAFC9-A781-4A8B-871F-6F3CDC4456E7}" type="datetimeFigureOut">
              <a:rPr lang="en-US" smtClean="0"/>
              <a:pPr/>
              <a:t>2/4/2016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1375" cy="3489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9" tIns="45779" rIns="91559" bIns="45779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66" y="4420055"/>
            <a:ext cx="5616596" cy="4187889"/>
          </a:xfrm>
          <a:prstGeom prst="rect">
            <a:avLst/>
          </a:prstGeom>
        </p:spPr>
        <p:txBody>
          <a:bodyPr vert="horz" lIns="91559" tIns="45779" rIns="91559" bIns="4577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38621"/>
            <a:ext cx="3042733" cy="465817"/>
          </a:xfrm>
          <a:prstGeom prst="rect">
            <a:avLst/>
          </a:prstGeom>
        </p:spPr>
        <p:txBody>
          <a:bodyPr vert="horz" lIns="91559" tIns="45779" rIns="91559" bIns="45779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5554" y="8838621"/>
            <a:ext cx="3042733" cy="465817"/>
          </a:xfrm>
          <a:prstGeom prst="rect">
            <a:avLst/>
          </a:prstGeom>
        </p:spPr>
        <p:txBody>
          <a:bodyPr vert="horz" lIns="91559" tIns="45779" rIns="91559" bIns="45779" rtlCol="0" anchor="b"/>
          <a:lstStyle>
            <a:lvl1pPr algn="r">
              <a:defRPr sz="1200"/>
            </a:lvl1pPr>
          </a:lstStyle>
          <a:p>
            <a:fld id="{4A3BB475-6357-4F3C-AD7D-123AFD288E93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989600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38E78-17B0-4EE1-845C-1D08B15DB6C1}" type="slidenum">
              <a:rPr lang="en-AU" smtClean="0"/>
              <a:pPr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696978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38E78-17B0-4EE1-845C-1D08B15DB6C1}" type="slidenum">
              <a:rPr lang="en-AU" smtClean="0"/>
              <a:pPr/>
              <a:t>1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409644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38E78-17B0-4EE1-845C-1D08B15DB6C1}" type="slidenum">
              <a:rPr lang="en-AU" smtClean="0"/>
              <a:pPr/>
              <a:t>1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351978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38E78-17B0-4EE1-845C-1D08B15DB6C1}" type="slidenum">
              <a:rPr lang="en-AU" smtClean="0"/>
              <a:pPr/>
              <a:t>1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461293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38E78-17B0-4EE1-845C-1D08B15DB6C1}" type="slidenum">
              <a:rPr lang="en-AU" smtClean="0"/>
              <a:pPr/>
              <a:t>1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85067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38E78-17B0-4EE1-845C-1D08B15DB6C1}" type="slidenum">
              <a:rPr lang="en-AU" smtClean="0"/>
              <a:pPr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207435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38E78-17B0-4EE1-845C-1D08B15DB6C1}" type="slidenum">
              <a:rPr lang="en-AU" smtClean="0"/>
              <a:pPr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970347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38E78-17B0-4EE1-845C-1D08B15DB6C1}" type="slidenum">
              <a:rPr lang="en-AU" smtClean="0"/>
              <a:pPr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451222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38E78-17B0-4EE1-845C-1D08B15DB6C1}" type="slidenum">
              <a:rPr lang="en-AU" smtClean="0"/>
              <a:pPr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60066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38E78-17B0-4EE1-845C-1D08B15DB6C1}" type="slidenum">
              <a:rPr lang="en-AU" smtClean="0"/>
              <a:pPr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99837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38E78-17B0-4EE1-845C-1D08B15DB6C1}" type="slidenum">
              <a:rPr lang="en-AU" smtClean="0"/>
              <a:pPr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097415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38E78-17B0-4EE1-845C-1D08B15DB6C1}" type="slidenum">
              <a:rPr lang="en-AU" smtClean="0"/>
              <a:pPr/>
              <a:t>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45184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38E78-17B0-4EE1-845C-1D08B15DB6C1}" type="slidenum">
              <a:rPr lang="en-AU" smtClean="0"/>
              <a:pPr/>
              <a:t>1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76660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3E88C8B-735C-46F0-BFE2-77FF51A296BA}" type="datetimeFigureOut">
              <a:rPr lang="en-US" smtClean="0"/>
              <a:pPr/>
              <a:t>2/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43B4E8-62EA-44AF-B5DA-F65EBF9AB6A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3E88C8B-735C-46F0-BFE2-77FF51A296BA}" type="datetimeFigureOut">
              <a:rPr lang="en-US" smtClean="0"/>
              <a:pPr/>
              <a:t>2/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43B4E8-62EA-44AF-B5DA-F65EBF9AB6A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3E88C8B-735C-46F0-BFE2-77FF51A296BA}" type="datetimeFigureOut">
              <a:rPr lang="en-US" smtClean="0"/>
              <a:pPr/>
              <a:t>2/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43B4E8-62EA-44AF-B5DA-F65EBF9AB6A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3"/>
            <a:ext cx="9144000" cy="775855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/>
            <a:endParaRPr lang="en-US" dirty="0">
              <a:gradFill flip="none" rotWithShape="1"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10800000" scaled="0"/>
                <a:tileRect/>
              </a:gra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2684521"/>
              </p:ext>
            </p:extLst>
          </p:nvPr>
        </p:nvGraphicFramePr>
        <p:xfrm>
          <a:off x="1469" y="159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59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64718" y="124164"/>
            <a:ext cx="8421477" cy="527531"/>
          </a:xfrm>
          <a:prstGeom prst="rect">
            <a:avLst/>
          </a:prstGeom>
          <a:ln>
            <a:noFill/>
          </a:ln>
        </p:spPr>
        <p:txBody>
          <a:bodyPr lIns="0" tIns="0" rIns="0" bIns="0" anchor="b" anchorCtr="0">
            <a:noAutofit/>
          </a:bodyPr>
          <a:lstStyle>
            <a:lvl1pPr algn="l">
              <a:defRPr sz="1800" b="1" i="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57813" y="5924854"/>
            <a:ext cx="8428382" cy="2558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AU" dirty="0" smtClean="0"/>
              <a:t>NOTES:  1. Insert footnotes / sources here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357813" y="1235075"/>
            <a:ext cx="8428378" cy="4530725"/>
          </a:xfrm>
          <a:prstGeom prst="rect">
            <a:avLst/>
          </a:prstGeom>
        </p:spPr>
        <p:txBody>
          <a:bodyPr vert="horz"/>
          <a:lstStyle>
            <a:lvl1pPr marL="180000" indent="-180000">
              <a:spcBef>
                <a:spcPts val="1200"/>
              </a:spcBef>
              <a:buClr>
                <a:schemeClr val="tx2"/>
              </a:buClr>
              <a:defRPr sz="1200">
                <a:solidFill>
                  <a:schemeClr val="tx1"/>
                </a:solidFill>
              </a:defRPr>
            </a:lvl1pPr>
            <a:lvl2pPr marL="360000" indent="-180000">
              <a:spcBef>
                <a:spcPts val="600"/>
              </a:spcBef>
              <a:buClr>
                <a:schemeClr val="tx2"/>
              </a:buClr>
              <a:buFont typeface="Wingdings" charset="2"/>
              <a:buChar char="§"/>
              <a:defRPr sz="1200"/>
            </a:lvl2pPr>
            <a:lvl3pPr marL="540000" indent="-180000">
              <a:spcBef>
                <a:spcPts val="600"/>
              </a:spcBef>
              <a:buClr>
                <a:schemeClr val="tx2"/>
              </a:buClr>
              <a:buFont typeface="Lucida Grande"/>
              <a:buChar char="-"/>
              <a:defRPr sz="1200">
                <a:solidFill>
                  <a:schemeClr val="tx1"/>
                </a:solidFill>
              </a:defRPr>
            </a:lvl3pPr>
          </a:lstStyle>
          <a:p>
            <a:pPr lvl="0"/>
            <a:r>
              <a:rPr lang="en-AU" dirty="0" smtClean="0"/>
              <a:t>First Level</a:t>
            </a:r>
          </a:p>
          <a:p>
            <a:pPr lvl="1"/>
            <a:r>
              <a:rPr lang="en-AU" dirty="0" smtClean="0"/>
              <a:t>Second Level</a:t>
            </a:r>
          </a:p>
          <a:p>
            <a:pPr lvl="2"/>
            <a:r>
              <a:rPr lang="en-AU" dirty="0" smtClean="0"/>
              <a:t>Third Level</a:t>
            </a:r>
          </a:p>
        </p:txBody>
      </p:sp>
      <p:pic>
        <p:nvPicPr>
          <p:cNvPr id="2" name="Picture 1" descr="2748 Umpire AFL Logo-large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4" y="5589240"/>
            <a:ext cx="1396211" cy="11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268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3E88C8B-735C-46F0-BFE2-77FF51A296BA}" type="datetimeFigureOut">
              <a:rPr lang="en-US" smtClean="0"/>
              <a:pPr/>
              <a:t>2/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43B4E8-62EA-44AF-B5DA-F65EBF9AB6A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3E88C8B-735C-46F0-BFE2-77FF51A296BA}" type="datetimeFigureOut">
              <a:rPr lang="en-US" smtClean="0"/>
              <a:pPr/>
              <a:t>2/4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43B4E8-62EA-44AF-B5DA-F65EBF9AB6A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3E88C8B-735C-46F0-BFE2-77FF51A296BA}" type="datetimeFigureOut">
              <a:rPr lang="en-US" smtClean="0"/>
              <a:pPr/>
              <a:t>2/4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43B4E8-62EA-44AF-B5DA-F65EBF9AB6A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3E88C8B-735C-46F0-BFE2-77FF51A296BA}" type="datetimeFigureOut">
              <a:rPr lang="en-US" smtClean="0"/>
              <a:pPr/>
              <a:t>2/4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43B4E8-62EA-44AF-B5DA-F65EBF9AB6A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3E88C8B-735C-46F0-BFE2-77FF51A296BA}" type="datetimeFigureOut">
              <a:rPr lang="en-US" smtClean="0"/>
              <a:pPr/>
              <a:t>2/4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43B4E8-62EA-44AF-B5DA-F65EBF9AB6A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3E88C8B-735C-46F0-BFE2-77FF51A296BA}" type="datetimeFigureOut">
              <a:rPr lang="en-US" smtClean="0"/>
              <a:pPr/>
              <a:t>2/4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43B4E8-62EA-44AF-B5DA-F65EBF9AB6A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3E88C8B-735C-46F0-BFE2-77FF51A296BA}" type="datetimeFigureOut">
              <a:rPr lang="en-US" smtClean="0"/>
              <a:pPr/>
              <a:t>2/4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43B4E8-62EA-44AF-B5DA-F65EBF9AB6A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3E88C8B-735C-46F0-BFE2-77FF51A296BA}" type="datetimeFigureOut">
              <a:rPr lang="en-US" smtClean="0"/>
              <a:pPr/>
              <a:t>2/4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43B4E8-62EA-44AF-B5DA-F65EBF9AB6A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v/cIFqvZ0T3FI?version=3&amp;f=playlists&amp;app=youtube_gdata" TargetMode="Externa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earningseat.com/servlet/ShopFrontPage?companyId=AFLCOMMUNITYCLUB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1000" r="-2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179512" y="548680"/>
            <a:ext cx="8784976" cy="864096"/>
          </a:xfrm>
          <a:prstGeom prst="rect">
            <a:avLst/>
          </a:prstGeom>
        </p:spPr>
        <p:txBody>
          <a:bodyPr lIns="0" tIns="0" rIns="0" bIns="0"/>
          <a:lstStyle>
            <a:lvl1pPr algn="l" defTabSz="457148" rtl="0" eaLnBrk="1" latinLnBrk="0" hangingPunct="1">
              <a:spcBef>
                <a:spcPct val="0"/>
              </a:spcBef>
              <a:buNone/>
              <a:defRPr sz="3600" b="1" i="0" kern="1200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AU" sz="2800" dirty="0" smtClean="0"/>
              <a:t>AFL (NSW/ACT) Community Umpiring Update 2016</a:t>
            </a:r>
            <a:endParaRPr lang="en-US" sz="2800" dirty="0"/>
          </a:p>
        </p:txBody>
      </p:sp>
      <p:sp>
        <p:nvSpPr>
          <p:cNvPr id="10" name="Content Placeholder 16"/>
          <p:cNvSpPr txBox="1">
            <a:spLocks/>
          </p:cNvSpPr>
          <p:nvPr/>
        </p:nvSpPr>
        <p:spPr>
          <a:xfrm>
            <a:off x="179512" y="1096397"/>
            <a:ext cx="5983980" cy="216293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457148" rtl="0" eaLnBrk="1" latinLnBrk="0" hangingPunct="1">
              <a:spcBef>
                <a:spcPct val="20000"/>
              </a:spcBef>
              <a:buFontTx/>
              <a:buNone/>
              <a:defRPr sz="1200" b="1" i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148" indent="0" algn="l" defTabSz="457148" rtl="0" eaLnBrk="1" latinLnBrk="0" hangingPunct="1">
              <a:spcBef>
                <a:spcPct val="20000"/>
              </a:spcBef>
              <a:buFontTx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14296" indent="0" algn="l" defTabSz="457148" rtl="0" eaLnBrk="1" latinLnBrk="0" hangingPunct="1">
              <a:spcBef>
                <a:spcPct val="20000"/>
              </a:spcBef>
              <a:buFontTx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445" indent="0" algn="l" defTabSz="457148" rtl="0" eaLnBrk="1" latinLnBrk="0" hangingPunct="1">
              <a:spcBef>
                <a:spcPct val="20000"/>
              </a:spcBef>
              <a:buFontTx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592" indent="0" algn="l" defTabSz="457148" rtl="0" eaLnBrk="1" latinLnBrk="0" hangingPunct="1">
              <a:spcBef>
                <a:spcPct val="20000"/>
              </a:spcBef>
              <a:buFontTx/>
              <a:buNone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314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62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10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58" indent="-228574" algn="l" defTabSz="45714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AU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179512" y="6488668"/>
            <a:ext cx="87849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hlinkClick r:id="rId3"/>
              </a:rPr>
              <a:t>https://www.youtube.com/v/cIFqvZ0T3FI?version=3&amp;f=playlists&amp;app=youtube_gdat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887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dirty="0" smtClean="0"/>
              <a:t>Club Appointed Umpires - Process</a:t>
            </a:r>
            <a:endParaRPr lang="en-US" sz="3200" b="0" dirty="0"/>
          </a:p>
        </p:txBody>
      </p:sp>
      <p:sp>
        <p:nvSpPr>
          <p:cNvPr id="4" name="TextBox 3"/>
          <p:cNvSpPr txBox="1"/>
          <p:nvPr/>
        </p:nvSpPr>
        <p:spPr>
          <a:xfrm>
            <a:off x="357158" y="908720"/>
            <a:ext cx="7987713" cy="50006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Must register on Sporting Pulse (</a:t>
            </a:r>
            <a:r>
              <a:rPr lang="en-US" sz="2400" dirty="0" err="1" smtClean="0"/>
              <a:t>footyweb</a:t>
            </a:r>
            <a:r>
              <a:rPr lang="en-US" sz="2400" dirty="0" smtClean="0"/>
              <a:t>)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Choose appropriate league/group</a:t>
            </a:r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Club umpire accreditation course</a:t>
            </a:r>
          </a:p>
          <a:p>
            <a:pPr marL="800100" lvl="1" indent="-342900">
              <a:lnSpc>
                <a:spcPct val="120000"/>
              </a:lnSpc>
              <a:buFont typeface="Wingdings" charset="2"/>
              <a:buChar char="Ø"/>
            </a:pPr>
            <a:r>
              <a:rPr lang="en-US" sz="2400" dirty="0">
                <a:hlinkClick r:id="rId3"/>
              </a:rPr>
              <a:t>http://www.learningseat.com/servlet/ShopFrontPage?companyId=</a:t>
            </a:r>
            <a:r>
              <a:rPr lang="en-US" sz="2400" dirty="0" smtClean="0">
                <a:hlinkClick r:id="rId3"/>
              </a:rPr>
              <a:t>AFLCOMMUNITYCLUB</a:t>
            </a:r>
            <a:r>
              <a:rPr lang="en-US" sz="2400" dirty="0" smtClean="0"/>
              <a:t> </a:t>
            </a:r>
          </a:p>
          <a:p>
            <a:pPr marL="914400" lvl="1" indent="-457200">
              <a:lnSpc>
                <a:spcPct val="120000"/>
              </a:lnSpc>
              <a:buFont typeface="Wingdings" charset="2"/>
              <a:buChar char="Ø"/>
            </a:pPr>
            <a:r>
              <a:rPr lang="en-US" sz="2400" dirty="0" smtClean="0"/>
              <a:t>Go to umpiring tab</a:t>
            </a:r>
          </a:p>
          <a:p>
            <a:pPr marL="914400" lvl="1" indent="-457200">
              <a:lnSpc>
                <a:spcPct val="120000"/>
              </a:lnSpc>
              <a:buFont typeface="Wingdings" charset="2"/>
              <a:buChar char="Ø"/>
            </a:pPr>
            <a:r>
              <a:rPr lang="en-US" sz="2400" dirty="0" smtClean="0"/>
              <a:t>30 min online course </a:t>
            </a:r>
            <a:r>
              <a:rPr lang="en-US" sz="2400" u="sng" dirty="0" smtClean="0"/>
              <a:t>prior</a:t>
            </a:r>
            <a:r>
              <a:rPr lang="en-US" sz="2400" dirty="0" smtClean="0"/>
              <a:t> to first match</a:t>
            </a:r>
          </a:p>
          <a:p>
            <a:pPr marL="914400" lvl="1" indent="-457200">
              <a:lnSpc>
                <a:spcPct val="120000"/>
              </a:lnSpc>
              <a:buFont typeface="Wingdings" charset="2"/>
              <a:buChar char="Ø"/>
            </a:pPr>
            <a:r>
              <a:rPr lang="en-US" sz="2400" dirty="0" smtClean="0"/>
              <a:t>Print out certificate of completion</a:t>
            </a:r>
          </a:p>
          <a:p>
            <a:pPr marL="971550" lvl="1" indent="-514350">
              <a:lnSpc>
                <a:spcPct val="120000"/>
              </a:lnSpc>
              <a:buFont typeface="Wingdings" charset="2"/>
              <a:buChar char="Ø"/>
            </a:pPr>
            <a:r>
              <a:rPr lang="en-US" sz="2400" dirty="0" smtClean="0"/>
              <a:t>Assessed by an suitable assessor during </a:t>
            </a:r>
            <a:r>
              <a:rPr lang="en-US" sz="2400" u="sng" dirty="0" smtClean="0"/>
              <a:t>one</a:t>
            </a:r>
            <a:r>
              <a:rPr lang="en-US" sz="2400" dirty="0" smtClean="0"/>
              <a:t> match</a:t>
            </a:r>
          </a:p>
          <a:p>
            <a:pPr marL="1428750" lvl="2" indent="-514350">
              <a:lnSpc>
                <a:spcPct val="120000"/>
              </a:lnSpc>
              <a:buFont typeface="Wingdings" charset="2"/>
              <a:buChar char="Ø"/>
            </a:pPr>
            <a:r>
              <a:rPr lang="en-US" sz="2000" dirty="0" smtClean="0"/>
              <a:t>Completed assessor course (online &amp; phone review)</a:t>
            </a:r>
          </a:p>
          <a:p>
            <a:pPr marL="1428750" lvl="2" indent="-514350">
              <a:lnSpc>
                <a:spcPct val="120000"/>
              </a:lnSpc>
              <a:buFont typeface="Wingdings" charset="2"/>
              <a:buChar char="Ø"/>
            </a:pPr>
            <a:r>
              <a:rPr lang="en-US" sz="2000" dirty="0" smtClean="0"/>
              <a:t>Accredited umpire, accredited umpire coach or accredited opposition coach</a:t>
            </a:r>
          </a:p>
          <a:p>
            <a:pPr marL="971550" lvl="1" indent="-514350">
              <a:lnSpc>
                <a:spcPct val="120000"/>
              </a:lnSpc>
              <a:buFont typeface="Wingdings" charset="2"/>
              <a:buChar char="Ø"/>
            </a:pPr>
            <a:r>
              <a:rPr lang="en-US" sz="2400" dirty="0" smtClean="0"/>
              <a:t>Signed off and returned to AFL (NSW/ACT)</a:t>
            </a:r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/>
            <a:endParaRPr lang="en-US" sz="36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14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/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942183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08" y="1196752"/>
            <a:ext cx="6660232" cy="4690304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4718" y="124164"/>
            <a:ext cx="8421477" cy="527531"/>
          </a:xfrm>
        </p:spPr>
        <p:txBody>
          <a:bodyPr/>
          <a:lstStyle/>
          <a:p>
            <a:r>
              <a:rPr lang="en-US" sz="3200" b="0" dirty="0" smtClean="0"/>
              <a:t>Club Appointed </a:t>
            </a:r>
            <a:r>
              <a:rPr lang="en-US" sz="3200" b="0" smtClean="0"/>
              <a:t>Umpire </a:t>
            </a:r>
            <a:r>
              <a:rPr lang="en-US" sz="3200" b="0" smtClean="0"/>
              <a:t>Certification</a:t>
            </a:r>
            <a:endParaRPr lang="en-US" sz="3200" b="0" dirty="0"/>
          </a:p>
        </p:txBody>
      </p:sp>
    </p:spTree>
    <p:extLst>
      <p:ext uri="{BB962C8B-B14F-4D97-AF65-F5344CB8AC3E}">
        <p14:creationId xmlns:p14="http://schemas.microsoft.com/office/powerpoint/2010/main" val="2889055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0900" y="0"/>
            <a:ext cx="48819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821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dirty="0" smtClean="0"/>
              <a:t>Club Appointed Umpires</a:t>
            </a:r>
            <a:endParaRPr lang="en-US" sz="3200" b="0" dirty="0"/>
          </a:p>
        </p:txBody>
      </p:sp>
      <p:sp>
        <p:nvSpPr>
          <p:cNvPr id="4" name="TextBox 3"/>
          <p:cNvSpPr txBox="1"/>
          <p:nvPr/>
        </p:nvSpPr>
        <p:spPr>
          <a:xfrm>
            <a:off x="827584" y="1124744"/>
            <a:ext cx="7987713" cy="50006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</a:pPr>
            <a:r>
              <a:rPr lang="en-US" sz="2800" b="1" dirty="0" smtClean="0"/>
              <a:t>Match day duties</a:t>
            </a:r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Officiate the match, impartially, to the best of their ability</a:t>
            </a:r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Complete all relevant paperwork at the conclusion of the match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Best &amp; fairest voting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Code of conduct or similar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Any reports if applicable</a:t>
            </a:r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Job not over when the siren goes but 10-15 minutes post match</a:t>
            </a:r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/>
            <a:endParaRPr lang="en-US" sz="36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14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/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1329625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dirty="0" smtClean="0"/>
              <a:t>Club Appointed Umpires</a:t>
            </a:r>
            <a:endParaRPr lang="en-US" sz="3200" b="0" dirty="0"/>
          </a:p>
        </p:txBody>
      </p:sp>
      <p:sp>
        <p:nvSpPr>
          <p:cNvPr id="4" name="TextBox 3"/>
          <p:cNvSpPr txBox="1"/>
          <p:nvPr/>
        </p:nvSpPr>
        <p:spPr>
          <a:xfrm>
            <a:off x="467544" y="980728"/>
            <a:ext cx="7987713" cy="50006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</a:pPr>
            <a:r>
              <a:rPr lang="en-US" sz="2800" b="1" dirty="0" smtClean="0"/>
              <a:t>If not registered/certified</a:t>
            </a:r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Not registered</a:t>
            </a:r>
            <a:endParaRPr lang="en-US" sz="2400" dirty="0"/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not covered by insurance</a:t>
            </a:r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Not certified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Have not completed basic training/knowledge</a:t>
            </a:r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Diminished match outcomes</a:t>
            </a:r>
          </a:p>
          <a:p>
            <a:pPr>
              <a:lnSpc>
                <a:spcPct val="120000"/>
              </a:lnSpc>
            </a:pPr>
            <a:r>
              <a:rPr lang="en-US" sz="3200" b="1" dirty="0" smtClean="0">
                <a:solidFill>
                  <a:srgbClr val="FF0000"/>
                </a:solidFill>
              </a:rPr>
              <a:t>We need your support</a:t>
            </a:r>
          </a:p>
          <a:p>
            <a:pPr marL="914400" lvl="1" indent="-457200">
              <a:lnSpc>
                <a:spcPct val="120000"/>
              </a:lnSpc>
              <a:buFont typeface="Arial"/>
              <a:buChar char="•"/>
            </a:pPr>
            <a:r>
              <a:rPr lang="en-US" sz="2400" b="1" dirty="0" smtClean="0"/>
              <a:t>Sanctions/penalties for clubs providing non-certified club appointed umpires</a:t>
            </a:r>
          </a:p>
          <a:p>
            <a:pPr marL="914400" lvl="1" indent="-457200">
              <a:lnSpc>
                <a:spcPct val="120000"/>
              </a:lnSpc>
              <a:buFont typeface="Arial"/>
              <a:buChar char="•"/>
            </a:pPr>
            <a:r>
              <a:rPr lang="en-US" sz="2400" b="1" dirty="0" smtClean="0"/>
              <a:t>Fines/loss of Code of Conduct or similar points</a:t>
            </a:r>
          </a:p>
          <a:p>
            <a:pPr marL="914400" lvl="1" indent="-457200">
              <a:lnSpc>
                <a:spcPct val="120000"/>
              </a:lnSpc>
              <a:buFont typeface="Arial"/>
              <a:buChar char="•"/>
            </a:pPr>
            <a:r>
              <a:rPr lang="en-US" sz="2400" b="1" dirty="0" smtClean="0"/>
              <a:t>Include in match paperwork (certification number)</a:t>
            </a:r>
          </a:p>
          <a:p>
            <a:pPr>
              <a:lnSpc>
                <a:spcPct val="120000"/>
              </a:lnSpc>
            </a:pPr>
            <a:endParaRPr lang="en-US" sz="2400" dirty="0" smtClean="0"/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endParaRPr lang="en-US" sz="24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/>
            <a:endParaRPr lang="en-US" sz="36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14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/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2301001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dirty="0" smtClean="0"/>
              <a:t>League Appointed Umpires - Process</a:t>
            </a:r>
            <a:endParaRPr lang="en-US" sz="3200" b="0" dirty="0"/>
          </a:p>
        </p:txBody>
      </p:sp>
      <p:sp>
        <p:nvSpPr>
          <p:cNvPr id="3" name="TextBox 2"/>
          <p:cNvSpPr txBox="1"/>
          <p:nvPr/>
        </p:nvSpPr>
        <p:spPr>
          <a:xfrm>
            <a:off x="357158" y="1142984"/>
            <a:ext cx="7987713" cy="50006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Register online via </a:t>
            </a:r>
            <a:r>
              <a:rPr lang="en-US" sz="2400" dirty="0" err="1" smtClean="0"/>
              <a:t>Sportingpulse</a:t>
            </a:r>
            <a:r>
              <a:rPr lang="en-US" sz="2400" dirty="0" smtClean="0"/>
              <a:t> (</a:t>
            </a:r>
            <a:r>
              <a:rPr lang="en-US" sz="2400" dirty="0" err="1" smtClean="0"/>
              <a:t>footyweb</a:t>
            </a:r>
            <a:r>
              <a:rPr lang="en-US" sz="2400" dirty="0" smtClean="0"/>
              <a:t>)</a:t>
            </a:r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Must compulsory undergo Introductory (Level 1) Accreditation in first year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Must complete 1.5 hour online course </a:t>
            </a:r>
            <a:r>
              <a:rPr lang="en-US" sz="2400" u="sng" dirty="0" smtClean="0"/>
              <a:t>prior</a:t>
            </a:r>
            <a:r>
              <a:rPr lang="en-US" sz="2400" dirty="0" smtClean="0"/>
              <a:t> to officiating in their first match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Assessed under match conditions as competent in </a:t>
            </a:r>
            <a:r>
              <a:rPr lang="en-US" sz="2400" b="1" dirty="0" smtClean="0"/>
              <a:t>ALL</a:t>
            </a:r>
            <a:r>
              <a:rPr lang="en-US" sz="2400" dirty="0" smtClean="0"/>
              <a:t> required areas by an approved assessor</a:t>
            </a:r>
          </a:p>
          <a:p>
            <a:pPr marL="1828800" lvl="3" indent="-457200">
              <a:lnSpc>
                <a:spcPct val="120000"/>
              </a:lnSpc>
              <a:buFont typeface="Wingdings" charset="2"/>
              <a:buChar char="Ø"/>
            </a:pPr>
            <a:r>
              <a:rPr lang="en-US" sz="2400" dirty="0" smtClean="0"/>
              <a:t>Accredited umpire coach/L2 accredited umpire</a:t>
            </a:r>
          </a:p>
          <a:p>
            <a:pPr marL="1828800" lvl="3" indent="-457200">
              <a:lnSpc>
                <a:spcPct val="120000"/>
              </a:lnSpc>
              <a:buFont typeface="Wingdings" charset="2"/>
              <a:buChar char="Ø"/>
            </a:pPr>
            <a:r>
              <a:rPr lang="en-US" sz="2400" dirty="0" smtClean="0"/>
              <a:t>Re-assessed at a later date if not competent in specific areas</a:t>
            </a:r>
          </a:p>
          <a:p>
            <a:pPr marL="273050" indent="-273050">
              <a:buFont typeface="Arial" pitchFamily="34" charset="0"/>
              <a:buChar char="•"/>
            </a:pPr>
            <a:endParaRPr lang="en-US" sz="32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200" dirty="0" smtClean="0"/>
          </a:p>
          <a:p>
            <a:pPr marL="273050" indent="-273050"/>
            <a:endParaRPr lang="en-US" sz="32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12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200" dirty="0" smtClean="0"/>
          </a:p>
          <a:p>
            <a:pPr marL="273050" indent="-273050"/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3427491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dirty="0" smtClean="0"/>
              <a:t>What is most important for good umpiring</a:t>
            </a:r>
            <a:endParaRPr lang="en-US" sz="3200" b="0" dirty="0"/>
          </a:p>
        </p:txBody>
      </p:sp>
      <p:sp>
        <p:nvSpPr>
          <p:cNvPr id="3" name="TextBox 2"/>
          <p:cNvSpPr txBox="1"/>
          <p:nvPr/>
        </p:nvSpPr>
        <p:spPr>
          <a:xfrm>
            <a:off x="357158" y="1142984"/>
            <a:ext cx="7987713" cy="50006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b="1" dirty="0" smtClean="0"/>
              <a:t>Umpiring groups </a:t>
            </a:r>
            <a:r>
              <a:rPr lang="en-US" sz="2400" dirty="0" smtClean="0"/>
              <a:t>(league appointed umpires)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Proper structure with adequate funding</a:t>
            </a:r>
          </a:p>
          <a:p>
            <a:pPr marL="1187450" lvl="2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Shared load; when one key person leaves it all falls over</a:t>
            </a:r>
          </a:p>
          <a:p>
            <a:pPr marL="1187450" lvl="2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Environment</a:t>
            </a:r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b="1" dirty="0" smtClean="0"/>
              <a:t>Club appointed umpires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/>
              <a:t>R</a:t>
            </a:r>
            <a:r>
              <a:rPr lang="en-US" sz="2400" dirty="0" smtClean="0"/>
              <a:t>egistered and accredited (trained!) to a minimum competency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League sanctions if not followed</a:t>
            </a:r>
          </a:p>
          <a:p>
            <a:pPr marL="1257300" lvl="2" indent="-342900">
              <a:lnSpc>
                <a:spcPct val="120000"/>
              </a:lnSpc>
              <a:buFont typeface="Wingdings" charset="2"/>
              <a:buChar char="Ø"/>
            </a:pPr>
            <a:r>
              <a:rPr lang="en-US" sz="2400" dirty="0" smtClean="0"/>
              <a:t>Recommend inclusion in match paperwork (certification number)</a:t>
            </a:r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/>
            <a:endParaRPr lang="en-US" sz="36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14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/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1306193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dirty="0" smtClean="0"/>
              <a:t>Agenda</a:t>
            </a:r>
            <a:endParaRPr lang="en-US" sz="3200" b="0" dirty="0"/>
          </a:p>
        </p:txBody>
      </p:sp>
      <p:sp>
        <p:nvSpPr>
          <p:cNvPr id="3" name="TextBox 2"/>
          <p:cNvSpPr txBox="1"/>
          <p:nvPr/>
        </p:nvSpPr>
        <p:spPr>
          <a:xfrm>
            <a:off x="683568" y="1196752"/>
            <a:ext cx="7987713" cy="50006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800" b="1" dirty="0" smtClean="0"/>
              <a:t>AFL (NSW/ACT)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800" dirty="0" smtClean="0"/>
              <a:t>NSW/ACT Community Umpiring Structure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800" dirty="0" smtClean="0"/>
              <a:t>AFL’s National Umpiring Strategy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800" dirty="0" smtClean="0"/>
              <a:t>Umpiring Pathway in NSW/ACT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800" dirty="0" smtClean="0"/>
              <a:t>What’s new in Community Umpiring</a:t>
            </a:r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800" b="1" dirty="0" smtClean="0"/>
              <a:t>Club &amp; League responsibilities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800" dirty="0" smtClean="0"/>
              <a:t>Club Appointed Umpires</a:t>
            </a:r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endParaRPr lang="en-US" sz="2400" dirty="0" smtClean="0"/>
          </a:p>
          <a:p>
            <a:pPr marL="1943100" lvl="3" indent="-571500">
              <a:buFont typeface="Arial"/>
              <a:buChar char="•"/>
            </a:pPr>
            <a:endParaRPr lang="en-US" sz="36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/>
            <a:endParaRPr lang="en-US" sz="36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14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/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4050426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dirty="0" smtClean="0"/>
              <a:t>NSW</a:t>
            </a:r>
            <a:r>
              <a:rPr lang="en-US" sz="3200" b="0" dirty="0"/>
              <a:t>/ACT Community Umpiring </a:t>
            </a:r>
            <a:r>
              <a:rPr lang="en-US" sz="3200" b="0" dirty="0" smtClean="0"/>
              <a:t>Structure</a:t>
            </a:r>
            <a:endParaRPr lang="en-US" sz="3200" b="0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079374605"/>
              </p:ext>
            </p:extLst>
          </p:nvPr>
        </p:nvGraphicFramePr>
        <p:xfrm>
          <a:off x="179463" y="-387424"/>
          <a:ext cx="8821311" cy="56166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538378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dirty="0" smtClean="0"/>
              <a:t>AFL’s National Umpiring Strategy</a:t>
            </a:r>
            <a:endParaRPr lang="en-US" sz="3200" b="0" dirty="0"/>
          </a:p>
        </p:txBody>
      </p:sp>
      <p:pic>
        <p:nvPicPr>
          <p:cNvPr id="4" name="Picture 3" descr="Screen Shot 2016-01-21 at 8.50.40 am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156120"/>
            <a:ext cx="8676456" cy="4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193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dirty="0" smtClean="0"/>
              <a:t>Umpiring Strategy – Major Local Objectives</a:t>
            </a:r>
            <a:endParaRPr lang="en-US" sz="3200" b="0" dirty="0"/>
          </a:p>
        </p:txBody>
      </p:sp>
      <p:sp>
        <p:nvSpPr>
          <p:cNvPr id="3" name="TextBox 2"/>
          <p:cNvSpPr txBox="1"/>
          <p:nvPr/>
        </p:nvSpPr>
        <p:spPr>
          <a:xfrm>
            <a:off x="539552" y="1124744"/>
            <a:ext cx="7987713" cy="5400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000" b="1" dirty="0" smtClean="0"/>
              <a:t>Increase umpire numbers by</a:t>
            </a:r>
          </a:p>
          <a:p>
            <a:pPr marL="1187450" lvl="2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000" b="1" dirty="0" smtClean="0">
                <a:solidFill>
                  <a:srgbClr val="FF0000"/>
                </a:solidFill>
              </a:rPr>
              <a:t>Retention</a:t>
            </a:r>
          </a:p>
          <a:p>
            <a:pPr marL="1644650" lvl="3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000" dirty="0" smtClean="0"/>
              <a:t>Enhanced engagement</a:t>
            </a:r>
          </a:p>
          <a:p>
            <a:pPr marL="2171700" lvl="4" indent="-342900">
              <a:lnSpc>
                <a:spcPct val="120000"/>
              </a:lnSpc>
              <a:buFont typeface="Wingdings" charset="2"/>
              <a:buChar char="Ø"/>
            </a:pPr>
            <a:r>
              <a:rPr lang="en-US" sz="2000" dirty="0" smtClean="0"/>
              <a:t>Improved coaching &amp; communication</a:t>
            </a:r>
          </a:p>
          <a:p>
            <a:pPr marL="2171700" lvl="4" indent="-342900">
              <a:lnSpc>
                <a:spcPct val="120000"/>
              </a:lnSpc>
              <a:buFont typeface="Wingdings" charset="2"/>
              <a:buChar char="Ø"/>
            </a:pPr>
            <a:r>
              <a:rPr lang="en-US" sz="2000" dirty="0" smtClean="0"/>
              <a:t>Engagement Bonus to encourage training attendance</a:t>
            </a:r>
          </a:p>
          <a:p>
            <a:pPr marL="1187450" lvl="2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000" b="1" dirty="0">
                <a:solidFill>
                  <a:srgbClr val="FF0000"/>
                </a:solidFill>
              </a:rPr>
              <a:t>Recruitment</a:t>
            </a:r>
          </a:p>
          <a:p>
            <a:pPr marL="1714500" lvl="3" indent="-342900">
              <a:lnSpc>
                <a:spcPct val="120000"/>
              </a:lnSpc>
              <a:buFont typeface="Wingdings" charset="2"/>
              <a:buChar char="Ø"/>
            </a:pPr>
            <a:r>
              <a:rPr lang="en-US" sz="2000" dirty="0"/>
              <a:t>Locally developed recruitment initiatives</a:t>
            </a:r>
          </a:p>
          <a:p>
            <a:pPr marL="1714500" lvl="3" indent="-342900">
              <a:lnSpc>
                <a:spcPct val="120000"/>
              </a:lnSpc>
              <a:buFont typeface="Wingdings" charset="2"/>
              <a:buChar char="Ø"/>
            </a:pPr>
            <a:r>
              <a:rPr lang="en-US" sz="2000" dirty="0"/>
              <a:t>Ambassador programs at </a:t>
            </a:r>
            <a:r>
              <a:rPr lang="en-US" sz="2000" dirty="0" smtClean="0"/>
              <a:t>Junior Clubs</a:t>
            </a:r>
          </a:p>
          <a:p>
            <a:pPr marL="1187450" lvl="2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000" b="1" dirty="0" smtClean="0">
                <a:solidFill>
                  <a:srgbClr val="FF0000"/>
                </a:solidFill>
              </a:rPr>
              <a:t>Promotion</a:t>
            </a:r>
          </a:p>
          <a:p>
            <a:pPr marL="2171700" lvl="4" indent="-342900">
              <a:lnSpc>
                <a:spcPct val="120000"/>
              </a:lnSpc>
              <a:buFont typeface="Wingdings" charset="2"/>
              <a:buChar char="Ø"/>
            </a:pPr>
            <a:r>
              <a:rPr lang="en-US" sz="2000" dirty="0" smtClean="0"/>
              <a:t>Clear career pathways</a:t>
            </a:r>
            <a:endParaRPr lang="en-US" sz="2000" dirty="0"/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000" b="1" dirty="0" smtClean="0"/>
              <a:t>Increase quality by;</a:t>
            </a:r>
          </a:p>
          <a:p>
            <a:pPr marL="1187450" lvl="2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000" dirty="0" smtClean="0"/>
              <a:t>Umpire education &amp; Accreditation</a:t>
            </a:r>
          </a:p>
          <a:p>
            <a:pPr marL="1187450" lvl="2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000" dirty="0" smtClean="0"/>
              <a:t>Umpire Coach education &amp; Accreditation</a:t>
            </a:r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endParaRPr lang="en-US" sz="2000" dirty="0"/>
          </a:p>
          <a:p>
            <a:pPr marL="1828800" lvl="3" indent="-457200">
              <a:lnSpc>
                <a:spcPct val="120000"/>
              </a:lnSpc>
              <a:buFont typeface="Wingdings" charset="2"/>
              <a:buChar char="Ø"/>
            </a:pPr>
            <a:endParaRPr lang="en-US" sz="2400" dirty="0" smtClean="0"/>
          </a:p>
          <a:p>
            <a:pPr marL="1828800" lvl="3" indent="-457200">
              <a:lnSpc>
                <a:spcPct val="120000"/>
              </a:lnSpc>
              <a:buFont typeface="Wingdings" charset="2"/>
              <a:buChar char="Ø"/>
            </a:pPr>
            <a:endParaRPr lang="en-US" sz="2400" dirty="0" smtClean="0"/>
          </a:p>
          <a:p>
            <a:pPr marL="1828800" lvl="3" indent="-457200">
              <a:lnSpc>
                <a:spcPct val="120000"/>
              </a:lnSpc>
              <a:buFont typeface="Wingdings" charset="2"/>
              <a:buChar char="Ø"/>
            </a:pPr>
            <a:endParaRPr lang="en-US" sz="2400" dirty="0" smtClean="0"/>
          </a:p>
          <a:p>
            <a:pPr lvl="3"/>
            <a:endParaRPr lang="en-US" sz="32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2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200" dirty="0" smtClean="0"/>
          </a:p>
          <a:p>
            <a:pPr marL="273050" indent="-273050"/>
            <a:endParaRPr lang="en-US" sz="32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12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200" dirty="0" smtClean="0"/>
          </a:p>
          <a:p>
            <a:pPr marL="273050" indent="-273050"/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2043417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 smtClean="0"/>
              <a:t>             Umpiring Talent Pathway NSW/ACT</a:t>
            </a:r>
            <a:endParaRPr lang="en-US" sz="2400" b="0" dirty="0"/>
          </a:p>
        </p:txBody>
      </p:sp>
      <p:sp>
        <p:nvSpPr>
          <p:cNvPr id="4" name="Rounded Rectangle 3"/>
          <p:cNvSpPr/>
          <p:nvPr/>
        </p:nvSpPr>
        <p:spPr>
          <a:xfrm>
            <a:off x="1331640" y="1412776"/>
            <a:ext cx="6336704" cy="576064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path path="shape">
              <a:fillToRect l="50000" t="50000" r="50000" b="50000"/>
            </a:path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FL National Panel</a:t>
            </a:r>
            <a:endParaRPr lang="en-US" dirty="0"/>
          </a:p>
        </p:txBody>
      </p:sp>
      <p:sp>
        <p:nvSpPr>
          <p:cNvPr id="20" name="Rounded Rectangle 19"/>
          <p:cNvSpPr/>
          <p:nvPr/>
        </p:nvSpPr>
        <p:spPr>
          <a:xfrm>
            <a:off x="1331640" y="2132856"/>
            <a:ext cx="6336704" cy="576064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path path="shape">
              <a:fillToRect l="50000" t="50000" r="50000" b="50000"/>
            </a:path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FL Rookie Panel (field umpires only)</a:t>
            </a:r>
            <a:endParaRPr lang="en-US" dirty="0"/>
          </a:p>
        </p:txBody>
      </p:sp>
      <p:sp>
        <p:nvSpPr>
          <p:cNvPr id="21" name="Rounded Rectangle 20"/>
          <p:cNvSpPr/>
          <p:nvPr/>
        </p:nvSpPr>
        <p:spPr>
          <a:xfrm>
            <a:off x="1331640" y="2852936"/>
            <a:ext cx="6336704" cy="576064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path path="shape">
              <a:fillToRect l="50000" t="50000" r="50000" b="50000"/>
            </a:path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EAFL State League Panel</a:t>
            </a:r>
            <a:endParaRPr lang="en-US" dirty="0"/>
          </a:p>
        </p:txBody>
      </p:sp>
      <p:sp>
        <p:nvSpPr>
          <p:cNvPr id="22" name="Rounded Rectangle 21"/>
          <p:cNvSpPr/>
          <p:nvPr/>
        </p:nvSpPr>
        <p:spPr>
          <a:xfrm>
            <a:off x="1331640" y="3573016"/>
            <a:ext cx="4680520" cy="576064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path path="shape">
              <a:fillToRect l="50000" t="50000" r="50000" b="50000"/>
            </a:path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EAFL Development Squad</a:t>
            </a:r>
            <a:endParaRPr lang="en-US" dirty="0"/>
          </a:p>
        </p:txBody>
      </p:sp>
      <p:sp>
        <p:nvSpPr>
          <p:cNvPr id="24" name="Rounded Rectangle 23"/>
          <p:cNvSpPr/>
          <p:nvPr/>
        </p:nvSpPr>
        <p:spPr>
          <a:xfrm>
            <a:off x="1331640" y="4293096"/>
            <a:ext cx="4680520" cy="576064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path path="shape">
              <a:fillToRect l="50000" t="50000" r="50000" b="50000"/>
            </a:path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merging Umps Squad</a:t>
            </a:r>
            <a:endParaRPr lang="en-US" dirty="0"/>
          </a:p>
        </p:txBody>
      </p:sp>
      <p:sp>
        <p:nvSpPr>
          <p:cNvPr id="25" name="Rounded Rectangle 24"/>
          <p:cNvSpPr/>
          <p:nvPr/>
        </p:nvSpPr>
        <p:spPr>
          <a:xfrm>
            <a:off x="1331640" y="5013176"/>
            <a:ext cx="4680520" cy="576064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path path="shape">
              <a:fillToRect l="50000" t="50000" r="50000" b="50000"/>
            </a:path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ext Gen Squad (field umpires only) </a:t>
            </a:r>
            <a:endParaRPr lang="en-US" dirty="0"/>
          </a:p>
        </p:txBody>
      </p:sp>
      <p:sp>
        <p:nvSpPr>
          <p:cNvPr id="26" name="Rounded Rectangle 25"/>
          <p:cNvSpPr/>
          <p:nvPr/>
        </p:nvSpPr>
        <p:spPr>
          <a:xfrm>
            <a:off x="6156176" y="5013176"/>
            <a:ext cx="1512168" cy="576064"/>
          </a:xfrm>
          <a:prstGeom prst="roundRect">
            <a:avLst/>
          </a:prstGeom>
          <a:gradFill flip="none" rotWithShape="1">
            <a:gsLst>
              <a:gs pos="39000">
                <a:srgbClr val="FF0000"/>
              </a:gs>
              <a:gs pos="100000">
                <a:srgbClr val="FFFFFF"/>
              </a:gs>
            </a:gsLst>
            <a:path path="shape">
              <a:fillToRect l="50000" t="50000" r="50000" b="50000"/>
            </a:path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Junior Football</a:t>
            </a:r>
            <a:endParaRPr lang="en-US" dirty="0"/>
          </a:p>
        </p:txBody>
      </p:sp>
      <p:sp>
        <p:nvSpPr>
          <p:cNvPr id="28" name="Rounded Rectangle 27"/>
          <p:cNvSpPr/>
          <p:nvPr/>
        </p:nvSpPr>
        <p:spPr>
          <a:xfrm>
            <a:off x="6156176" y="3573016"/>
            <a:ext cx="1512168" cy="1296144"/>
          </a:xfrm>
          <a:prstGeom prst="roundRect">
            <a:avLst/>
          </a:prstGeom>
          <a:gradFill flip="none" rotWithShape="1">
            <a:gsLst>
              <a:gs pos="39000">
                <a:srgbClr val="FF0000"/>
              </a:gs>
              <a:gs pos="100000">
                <a:srgbClr val="FFFFFF"/>
              </a:gs>
            </a:gsLst>
            <a:path path="shape">
              <a:fillToRect l="50000" t="50000" r="50000" b="50000"/>
            </a:path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enior Community Football</a:t>
            </a:r>
            <a:endParaRPr lang="en-US" dirty="0"/>
          </a:p>
        </p:txBody>
      </p:sp>
      <p:sp>
        <p:nvSpPr>
          <p:cNvPr id="32" name="Up Arrow 31"/>
          <p:cNvSpPr/>
          <p:nvPr/>
        </p:nvSpPr>
        <p:spPr>
          <a:xfrm>
            <a:off x="4139952" y="1916832"/>
            <a:ext cx="720080" cy="288032"/>
          </a:xfrm>
          <a:prstGeom prst="upArrow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Up Arrow 32"/>
          <p:cNvSpPr/>
          <p:nvPr/>
        </p:nvSpPr>
        <p:spPr>
          <a:xfrm>
            <a:off x="4139952" y="2636912"/>
            <a:ext cx="720080" cy="288032"/>
          </a:xfrm>
          <a:prstGeom prst="upArrow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Up Arrow 35"/>
          <p:cNvSpPr/>
          <p:nvPr/>
        </p:nvSpPr>
        <p:spPr>
          <a:xfrm>
            <a:off x="3419872" y="4077072"/>
            <a:ext cx="720080" cy="288032"/>
          </a:xfrm>
          <a:prstGeom prst="upArrow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Up Arrow 36"/>
          <p:cNvSpPr/>
          <p:nvPr/>
        </p:nvSpPr>
        <p:spPr>
          <a:xfrm>
            <a:off x="3419872" y="4797152"/>
            <a:ext cx="720080" cy="288032"/>
          </a:xfrm>
          <a:prstGeom prst="upArrow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235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dirty="0" smtClean="0"/>
              <a:t>What’s new in community umpiring</a:t>
            </a:r>
            <a:endParaRPr lang="en-US" sz="3200" b="0" dirty="0"/>
          </a:p>
        </p:txBody>
      </p:sp>
      <p:sp>
        <p:nvSpPr>
          <p:cNvPr id="3" name="TextBox 2"/>
          <p:cNvSpPr txBox="1"/>
          <p:nvPr/>
        </p:nvSpPr>
        <p:spPr>
          <a:xfrm>
            <a:off x="611560" y="1268760"/>
            <a:ext cx="7987713" cy="50006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Uniform standardization -&gt; green</a:t>
            </a:r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Green shirt program ceased</a:t>
            </a:r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New “Trainee Umpire” identification program</a:t>
            </a:r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Umpire &amp; Umpire Coach Accreditation process streamlined and simplified </a:t>
            </a:r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endParaRPr lang="en-US" sz="2000" dirty="0" smtClean="0"/>
          </a:p>
          <a:p>
            <a:pPr marL="1644650" lvl="3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/>
            <a:endParaRPr lang="en-US" sz="36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14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/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2884732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dirty="0" smtClean="0"/>
              <a:t>Uniform &amp; Trainee Umpire Updates</a:t>
            </a:r>
            <a:endParaRPr lang="en-US" sz="3200" b="0" dirty="0"/>
          </a:p>
        </p:txBody>
      </p:sp>
      <p:pic>
        <p:nvPicPr>
          <p:cNvPr id="4" name="Picture 3" descr="image002.jpe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4539" y="3717032"/>
            <a:ext cx="2271797" cy="2669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35401" y="836712"/>
            <a:ext cx="3392983" cy="2870069"/>
          </a:xfrm>
          <a:prstGeom prst="rect">
            <a:avLst/>
          </a:prstGeom>
          <a:noFill/>
          <a:ln w="1">
            <a:noFill/>
            <a:miter lim="800000"/>
            <a:headEnd/>
            <a:tailEnd type="none" w="med" len="med"/>
          </a:ln>
          <a:effectLst/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954" y="967671"/>
            <a:ext cx="3622006" cy="2965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xmlns="" w="1">
                <a:solidFill>
                  <a:srgbClr val="FFFFFF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AFL NSWACT_CMYK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703912" y="1984772"/>
            <a:ext cx="419816" cy="292100"/>
          </a:xfrm>
          <a:prstGeom prst="rect">
            <a:avLst/>
          </a:prstGeom>
        </p:spPr>
      </p:pic>
      <p:pic>
        <p:nvPicPr>
          <p:cNvPr id="8" name="Picture 7" descr="AFL NSWACT_CMYK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724128" y="1912764"/>
            <a:ext cx="419816" cy="2921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12005" y="3959160"/>
            <a:ext cx="2847827" cy="2566184"/>
          </a:xfrm>
          <a:prstGeom prst="rect">
            <a:avLst/>
          </a:prstGeom>
          <a:noFill/>
          <a:ln w="1">
            <a:noFill/>
            <a:miter lim="800000"/>
            <a:headEnd/>
            <a:tailEnd type="none" w="med" len="med"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99792" y="4149079"/>
            <a:ext cx="2952328" cy="2575043"/>
          </a:xfrm>
          <a:prstGeom prst="rect">
            <a:avLst/>
          </a:prstGeom>
          <a:noFill/>
          <a:ln w="1">
            <a:noFill/>
            <a:miter lim="800000"/>
            <a:headEnd/>
            <a:tailEnd type="none" w="med" len="med"/>
          </a:ln>
          <a:effectLst/>
        </p:spPr>
      </p:pic>
    </p:spTree>
    <p:extLst>
      <p:ext uri="{BB962C8B-B14F-4D97-AF65-F5344CB8AC3E}">
        <p14:creationId xmlns:p14="http://schemas.microsoft.com/office/powerpoint/2010/main" val="1589206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dirty="0" smtClean="0"/>
              <a:t>Club Appointed Umpires</a:t>
            </a:r>
            <a:endParaRPr lang="en-US" sz="3200" b="0" dirty="0"/>
          </a:p>
        </p:txBody>
      </p:sp>
      <p:sp>
        <p:nvSpPr>
          <p:cNvPr id="4" name="TextBox 3"/>
          <p:cNvSpPr txBox="1"/>
          <p:nvPr/>
        </p:nvSpPr>
        <p:spPr>
          <a:xfrm>
            <a:off x="357158" y="1142984"/>
            <a:ext cx="7987713" cy="50006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3200" b="1" dirty="0" smtClean="0"/>
              <a:t>Must be registered and certified</a:t>
            </a:r>
            <a:br>
              <a:rPr lang="en-US" sz="3200" b="1" dirty="0" smtClean="0"/>
            </a:br>
            <a:endParaRPr lang="en-US" sz="3200" b="1" dirty="0" smtClean="0"/>
          </a:p>
          <a:p>
            <a:pPr marL="273050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WHY?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Minimum level competency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Understand basic skills, role and responsibilities</a:t>
            </a:r>
          </a:p>
          <a:p>
            <a:pPr marL="730250" lvl="1" indent="-273050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400" dirty="0" smtClean="0"/>
              <a:t>Better outcomes for game/league</a:t>
            </a:r>
          </a:p>
          <a:p>
            <a:pPr marL="1257300" lvl="2" indent="-342900">
              <a:lnSpc>
                <a:spcPct val="120000"/>
              </a:lnSpc>
              <a:buFont typeface="Wingdings" charset="2"/>
              <a:buChar char="Ø"/>
            </a:pPr>
            <a:r>
              <a:rPr lang="en-US" sz="2400" dirty="0" smtClean="0"/>
              <a:t>More enjoyable match by all participants</a:t>
            </a:r>
            <a:endParaRPr lang="en-US" sz="36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/>
            <a:endParaRPr lang="en-US" sz="36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1400" dirty="0" smtClean="0"/>
          </a:p>
          <a:p>
            <a:pPr marL="273050" indent="-273050">
              <a:buFont typeface="Arial" pitchFamily="34" charset="0"/>
              <a:buChar char="•"/>
            </a:pPr>
            <a:endParaRPr lang="en-US" sz="3600" dirty="0" smtClean="0"/>
          </a:p>
          <a:p>
            <a:pPr marL="273050" indent="-273050"/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3176290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36</TotalTime>
  <Words>585</Words>
  <Application>Microsoft Office PowerPoint</Application>
  <PresentationFormat>On-screen Show (4:3)</PresentationFormat>
  <Paragraphs>176</Paragraphs>
  <Slides>16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Calibri</vt:lpstr>
      <vt:lpstr>Lucida Grande</vt:lpstr>
      <vt:lpstr>Wingdings</vt:lpstr>
      <vt:lpstr>Office Theme</vt:lpstr>
      <vt:lpstr>think-cell Slide</vt:lpstr>
      <vt:lpstr>PowerPoint Presentation</vt:lpstr>
      <vt:lpstr>Agenda</vt:lpstr>
      <vt:lpstr>NSW/ACT Community Umpiring Structure</vt:lpstr>
      <vt:lpstr>AFL’s National Umpiring Strategy</vt:lpstr>
      <vt:lpstr>Umpiring Strategy – Major Local Objectives</vt:lpstr>
      <vt:lpstr>             Umpiring Talent Pathway NSW/ACT</vt:lpstr>
      <vt:lpstr>What’s new in community umpiring</vt:lpstr>
      <vt:lpstr>Uniform &amp; Trainee Umpire Updates</vt:lpstr>
      <vt:lpstr>Club Appointed Umpires</vt:lpstr>
      <vt:lpstr>Club Appointed Umpires - Process</vt:lpstr>
      <vt:lpstr>Club Appointed Umpire Certification</vt:lpstr>
      <vt:lpstr>PowerPoint Presentation</vt:lpstr>
      <vt:lpstr>Club Appointed Umpires</vt:lpstr>
      <vt:lpstr>Club Appointed Umpires</vt:lpstr>
      <vt:lpstr>League Appointed Umpires - Process</vt:lpstr>
      <vt:lpstr>What is most important for good umpiring</vt:lpstr>
    </vt:vector>
  </TitlesOfParts>
  <Company>Australian Football Leagu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FL User</dc:creator>
  <cp:lastModifiedBy>Taleah Neowhouse</cp:lastModifiedBy>
  <cp:revision>292</cp:revision>
  <cp:lastPrinted>2016-02-04T09:26:08Z</cp:lastPrinted>
  <dcterms:created xsi:type="dcterms:W3CDTF">2010-06-17T06:01:41Z</dcterms:created>
  <dcterms:modified xsi:type="dcterms:W3CDTF">2016-02-04T09:26:32Z</dcterms:modified>
</cp:coreProperties>
</file>